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0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1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2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3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4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  <p:sldMasterId id="2147483657" r:id="rId5"/>
    <p:sldMasterId id="2147483679" r:id="rId6"/>
    <p:sldMasterId id="2147483662" r:id="rId7"/>
    <p:sldMasterId id="2147483699" r:id="rId8"/>
    <p:sldMasterId id="2147483714" r:id="rId9"/>
    <p:sldMasterId id="2147483745" r:id="rId10"/>
    <p:sldMasterId id="2147483752" r:id="rId11"/>
    <p:sldMasterId id="2147483771" r:id="rId12"/>
    <p:sldMasterId id="2147483787" r:id="rId13"/>
    <p:sldMasterId id="2147483795" r:id="rId14"/>
    <p:sldMasterId id="2147483810" r:id="rId15"/>
    <p:sldMasterId id="2147483821" r:id="rId16"/>
    <p:sldMasterId id="2147483833" r:id="rId17"/>
    <p:sldMasterId id="2147483838" r:id="rId18"/>
  </p:sldMasterIdLst>
  <p:notesMasterIdLst>
    <p:notesMasterId r:id="rId29"/>
  </p:notesMasterIdLst>
  <p:sldIdLst>
    <p:sldId id="376" r:id="rId19"/>
    <p:sldId id="377" r:id="rId20"/>
    <p:sldId id="367" r:id="rId21"/>
    <p:sldId id="371" r:id="rId22"/>
    <p:sldId id="372" r:id="rId23"/>
    <p:sldId id="381" r:id="rId24"/>
    <p:sldId id="373" r:id="rId25"/>
    <p:sldId id="380" r:id="rId26"/>
    <p:sldId id="379" r:id="rId27"/>
    <p:sldId id="378" r:id="rId28"/>
  </p:sldIdLst>
  <p:sldSz cx="12192000" cy="6858000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674" userDrawn="1">
          <p15:clr>
            <a:srgbClr val="A4A3A4"/>
          </p15:clr>
        </p15:guide>
        <p15:guide id="4" pos="942" userDrawn="1">
          <p15:clr>
            <a:srgbClr val="A4A3A4"/>
          </p15:clr>
        </p15:guide>
        <p15:guide id="5" orient="horz" pos="1535">
          <p15:clr>
            <a:srgbClr val="A4A3A4"/>
          </p15:clr>
        </p15:guide>
        <p15:guide id="6" pos="749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95D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35" autoAdjust="0"/>
    <p:restoredTop sz="64496" autoAdjust="0"/>
  </p:normalViewPr>
  <p:slideViewPr>
    <p:cSldViewPr snapToGrid="0">
      <p:cViewPr>
        <p:scale>
          <a:sx n="66" d="100"/>
          <a:sy n="66" d="100"/>
        </p:scale>
        <p:origin x="-516" y="-140"/>
      </p:cViewPr>
      <p:guideLst>
        <p:guide orient="horz" pos="2160"/>
        <p:guide orient="horz" pos="1674"/>
        <p:guide orient="horz" pos="1535"/>
        <p:guide pos="3840"/>
        <p:guide pos="942"/>
        <p:guide pos="74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678" y="72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8.xml"/><Relationship Id="rId3" Type="http://schemas.openxmlformats.org/officeDocument/2006/relationships/customXml" Target="../customXml/item3.xml"/><Relationship Id="rId21" Type="http://schemas.openxmlformats.org/officeDocument/2006/relationships/slide" Target="slides/slide3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7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6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r">
              <a:defRPr sz="1200"/>
            </a:lvl1pPr>
          </a:lstStyle>
          <a:p>
            <a:fld id="{276B978E-627B-4CA1-8882-283B11670EDB}" type="datetimeFigureOut">
              <a:rPr lang="nl-NL" smtClean="0"/>
              <a:t>16-9-2016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37275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9" tIns="47380" rIns="94759" bIns="4738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925408"/>
            <a:ext cx="5679440" cy="4029879"/>
          </a:xfrm>
          <a:prstGeom prst="rect">
            <a:avLst/>
          </a:prstGeom>
        </p:spPr>
        <p:txBody>
          <a:bodyPr vert="horz" lIns="94759" tIns="47380" rIns="94759" bIns="4738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3507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3" cy="513507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r">
              <a:defRPr sz="1200"/>
            </a:lvl1pPr>
          </a:lstStyle>
          <a:p>
            <a:fld id="{12F8B99C-00E5-4454-8541-C53980D8A55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21295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8B99C-00E5-4454-8541-C53980D8A55E}" type="slidenum">
              <a:rPr lang="nl-NL" smtClean="0">
                <a:solidFill>
                  <a:prstClr val="black"/>
                </a:solidFill>
              </a:rPr>
              <a:pPr/>
              <a:t>1</a:t>
            </a:fld>
            <a:endParaRPr lang="nl-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930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177661" indent="-177661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egon USA was formed in 1989 bringing together three insurance groups owned by Aegon N.V.: </a:t>
            </a:r>
          </a:p>
          <a:p>
            <a:pPr marL="651421" lvl="2" indent="-177661">
              <a:buFont typeface="Arial" panose="020B0604020202020204" pitchFamily="34" charset="0"/>
              <a:buChar char="‾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Life Investors (Cedar Rapids), </a:t>
            </a:r>
          </a:p>
          <a:p>
            <a:pPr marL="651421" lvl="2" indent="-177661">
              <a:buFont typeface="Arial" panose="020B0604020202020204" pitchFamily="34" charset="0"/>
              <a:buChar char="‾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onumental Life (Baltimore), </a:t>
            </a:r>
          </a:p>
          <a:p>
            <a:pPr marL="651421" lvl="2" indent="-177661">
              <a:buFont typeface="Arial" panose="020B0604020202020204" pitchFamily="34" charset="0"/>
              <a:buChar char="‾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d National Old Line (Little Rock).</a:t>
            </a:r>
          </a:p>
          <a:p>
            <a:pPr marL="177661" indent="-177661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egon USA has grouped its various businesses under a single brand name: </a:t>
            </a:r>
            <a:r>
              <a:rPr lang="en-US" dirty="0">
                <a:latin typeface="Arial Black" panose="020B0A04020102020204" pitchFamily="34" charset="0"/>
                <a:cs typeface="Arial" panose="020B0604020202020204" pitchFamily="34" charset="0"/>
              </a:rPr>
              <a:t>Transameric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7661" indent="-177661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ransamerica’s roots date back to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the early 1900s.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661" indent="-177661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mportant US acquisitions in the last 19 years:</a:t>
            </a:r>
          </a:p>
          <a:p>
            <a:pPr marL="651421" lvl="2" indent="-177661">
              <a:buFont typeface="Arial" panose="020B0604020202020204" pitchFamily="34" charset="0"/>
              <a:buChar char="‾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Providian in 1997</a:t>
            </a:r>
          </a:p>
          <a:p>
            <a:pPr marL="651421" lvl="2" indent="-177661">
              <a:buFont typeface="Arial" panose="020B0604020202020204" pitchFamily="34" charset="0"/>
              <a:buChar char="‾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ransamerica in 1999</a:t>
            </a:r>
          </a:p>
          <a:p>
            <a:pPr marL="651421" lvl="2" indent="-177661">
              <a:buFont typeface="Arial" panose="020B0604020202020204" pitchFamily="34" charset="0"/>
              <a:buChar char="‾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JC Penney in 2001</a:t>
            </a:r>
          </a:p>
          <a:p>
            <a:pPr marL="651421" lvl="2" indent="-177661">
              <a:buFont typeface="Arial" panose="020B0604020202020204" pitchFamily="34" charset="0"/>
              <a:buChar char="‾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Merrill Lynch Life in 2007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661" indent="-177661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Our business in the Americas is focused on helping its customers build a future they can count on.</a:t>
            </a:r>
          </a:p>
          <a:p>
            <a:pPr marL="177661" indent="-177661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ransamerica’s key businesses are life insurance, investments and retirement. </a:t>
            </a:r>
          </a:p>
          <a:p>
            <a:pPr marL="177661" indent="-177661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n the US, Transamerica is one of the top 10 of largest providers of variable annuities, universal life and term life.</a:t>
            </a:r>
          </a:p>
          <a:p>
            <a:pPr marL="177661" indent="-177661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egon in the Americas has  approximately 12,700 employees.</a:t>
            </a:r>
          </a:p>
          <a:p>
            <a:pPr marL="177661" indent="-177661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ransamerica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has sponsored PGA two-time major winner Zach Johnson since 2004, as well as various professional athletes in golf, soccer and endurance events. Transamerica became the shirt sponsor for the Colorad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apids of Major League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occer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in 2015.</a:t>
            </a:r>
            <a:endParaRPr lang="en-US" dirty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8B99C-00E5-4454-8541-C53980D8A55E}" type="slidenum">
              <a:rPr lang="nl-NL" smtClean="0">
                <a:solidFill>
                  <a:prstClr val="black"/>
                </a:solidFill>
              </a:rPr>
              <a:pPr/>
              <a:t>2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3710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F8B99C-00E5-4454-8541-C53980D8A55E}" type="slidenum">
              <a:rPr lang="nl-NL" smtClean="0">
                <a:solidFill>
                  <a:prstClr val="black"/>
                </a:solidFill>
              </a:rPr>
              <a:pPr/>
              <a:t>10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371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1212359" y="1390049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4067557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1212359" y="22037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cxnSp>
        <p:nvCxnSpPr>
          <p:cNvPr id="52" name="Straight Connector 59"/>
          <p:cNvCxnSpPr/>
          <p:nvPr userDrawn="1"/>
        </p:nvCxnSpPr>
        <p:spPr>
          <a:xfrm>
            <a:off x="7897494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479425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1212359" y="2780586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1212359" y="3594324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479425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1212359" y="4171123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1212359" y="4984861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479425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4982809" y="1390049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4982809" y="22037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4249875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4982809" y="2780586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4982809" y="3594324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4249875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4982809" y="4171123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4982809" y="4984861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4249875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88" name="Tijdelijke aanduiding voor tekst 35"/>
          <p:cNvSpPr>
            <a:spLocks noGrp="1"/>
          </p:cNvSpPr>
          <p:nvPr>
            <p:ph type="body" sz="quarter" idx="53" hasCustomPrompt="1"/>
          </p:nvPr>
        </p:nvSpPr>
        <p:spPr>
          <a:xfrm>
            <a:off x="8812747" y="1390049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9" name="Tijdelijke aanduiding voor tekst 37"/>
          <p:cNvSpPr>
            <a:spLocks noGrp="1"/>
          </p:cNvSpPr>
          <p:nvPr>
            <p:ph type="body" sz="quarter" idx="54" hasCustomPrompt="1"/>
          </p:nvPr>
        </p:nvSpPr>
        <p:spPr>
          <a:xfrm>
            <a:off x="8812747" y="2203787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90" name="Tijdelijke aanduiding voor tekst 71"/>
          <p:cNvSpPr>
            <a:spLocks noGrp="1"/>
          </p:cNvSpPr>
          <p:nvPr>
            <p:ph type="body" sz="quarter" idx="55" hasCustomPrompt="1"/>
          </p:nvPr>
        </p:nvSpPr>
        <p:spPr>
          <a:xfrm>
            <a:off x="8079813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91" name="Tijdelijke aanduiding voor tekst 35"/>
          <p:cNvSpPr>
            <a:spLocks noGrp="1"/>
          </p:cNvSpPr>
          <p:nvPr>
            <p:ph type="body" sz="quarter" idx="56" hasCustomPrompt="1"/>
          </p:nvPr>
        </p:nvSpPr>
        <p:spPr>
          <a:xfrm>
            <a:off x="8812747" y="2780586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92" name="Tijdelijke aanduiding voor tekst 37"/>
          <p:cNvSpPr>
            <a:spLocks noGrp="1"/>
          </p:cNvSpPr>
          <p:nvPr>
            <p:ph type="body" sz="quarter" idx="57" hasCustomPrompt="1"/>
          </p:nvPr>
        </p:nvSpPr>
        <p:spPr>
          <a:xfrm>
            <a:off x="8812747" y="3594324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93" name="Tijdelijke aanduiding voor tekst 71"/>
          <p:cNvSpPr>
            <a:spLocks noGrp="1"/>
          </p:cNvSpPr>
          <p:nvPr>
            <p:ph type="body" sz="quarter" idx="58" hasCustomPrompt="1"/>
          </p:nvPr>
        </p:nvSpPr>
        <p:spPr>
          <a:xfrm>
            <a:off x="8079813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94" name="Tijdelijke aanduiding voor tekst 35"/>
          <p:cNvSpPr>
            <a:spLocks noGrp="1"/>
          </p:cNvSpPr>
          <p:nvPr>
            <p:ph type="body" sz="quarter" idx="59" hasCustomPrompt="1"/>
          </p:nvPr>
        </p:nvSpPr>
        <p:spPr>
          <a:xfrm>
            <a:off x="8812747" y="4171123"/>
            <a:ext cx="275920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95" name="Tijdelijke aanduiding voor tekst 37"/>
          <p:cNvSpPr>
            <a:spLocks noGrp="1"/>
          </p:cNvSpPr>
          <p:nvPr>
            <p:ph type="body" sz="quarter" idx="60" hasCustomPrompt="1"/>
          </p:nvPr>
        </p:nvSpPr>
        <p:spPr>
          <a:xfrm>
            <a:off x="8812747" y="4984861"/>
            <a:ext cx="2759566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96" name="Tijdelijke aanduiding voor tekst 71"/>
          <p:cNvSpPr>
            <a:spLocks noGrp="1"/>
          </p:cNvSpPr>
          <p:nvPr>
            <p:ph type="body" sz="quarter" idx="61" hasCustomPrompt="1"/>
          </p:nvPr>
        </p:nvSpPr>
        <p:spPr>
          <a:xfrm>
            <a:off x="8079813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6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3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095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 userDrawn="1">
          <p15:clr>
            <a:srgbClr val="FBAE40"/>
          </p15:clr>
        </p15:guide>
        <p15:guide id="2" orient="horz" pos="36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6225988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/>
              <a:t>Click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image</a:t>
            </a:r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25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0719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0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64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6225988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/>
              <a:t>Click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image</a:t>
            </a:r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858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5828982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447357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/>
              <a:t>Click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image</a:t>
            </a:r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14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 userDrawn="1"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0314" y="2382838"/>
            <a:ext cx="4839336" cy="29924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83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77520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96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9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pic>
        <p:nvPicPr>
          <p:cNvPr id="13" name="Picture 27" descr="ipa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121" y="2291025"/>
            <a:ext cx="4915097" cy="3567164"/>
          </a:xfrm>
          <a:prstGeom prst="rect">
            <a:avLst/>
          </a:prstGeom>
        </p:spPr>
      </p:pic>
      <p:sp>
        <p:nvSpPr>
          <p:cNvPr id="15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481943"/>
            <a:ext cx="4084319" cy="30949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ck on the icon to insert image</a:t>
            </a:r>
            <a:endParaRPr lang="en-US" dirty="0"/>
          </a:p>
        </p:txBody>
      </p:sp>
      <p:sp>
        <p:nvSpPr>
          <p:cNvPr id="1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411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34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4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24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5994400" y="1773238"/>
            <a:ext cx="5405438" cy="40941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 Hebrew" charset="-79"/>
              <a:ea typeface="Arial Hebrew" charset="-79"/>
              <a:cs typeface="Arial Hebrew" charset="-79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197600" y="1930400"/>
            <a:ext cx="5038725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4988" indent="-263525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8" name="Rechthoek 7"/>
          <p:cNvSpPr/>
          <p:nvPr userDrawn="1"/>
        </p:nvSpPr>
        <p:spPr>
          <a:xfrm>
            <a:off x="447357" y="1773238"/>
            <a:ext cx="5547043" cy="4094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14"/>
          </p:nvPr>
        </p:nvSpPr>
        <p:spPr>
          <a:xfrm>
            <a:off x="660164" y="1930400"/>
            <a:ext cx="5170723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Calibri" panose="020F0502020204030204" pitchFamily="34" charset="0"/>
              <a:buChar char="-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4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5828982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447357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/>
              <a:t>Click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image</a:t>
            </a:r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59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/>
          <p:cNvGrpSpPr/>
          <p:nvPr userDrawn="1"/>
        </p:nvGrpSpPr>
        <p:grpSpPr>
          <a:xfrm>
            <a:off x="4201965" y="2080060"/>
            <a:ext cx="3443264" cy="3431160"/>
            <a:chOff x="8555490" y="4136840"/>
            <a:chExt cx="7232667" cy="7207240"/>
          </a:xfrm>
        </p:grpSpPr>
        <p:sp>
          <p:nvSpPr>
            <p:cNvPr id="5" name="Pie 45"/>
            <p:cNvSpPr/>
            <p:nvPr userDrawn="1"/>
          </p:nvSpPr>
          <p:spPr>
            <a:xfrm>
              <a:off x="8555491" y="4159929"/>
              <a:ext cx="3539375" cy="3538914"/>
            </a:xfrm>
            <a:prstGeom prst="pieWedg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Pie 4"/>
            <p:cNvSpPr/>
            <p:nvPr userDrawn="1"/>
          </p:nvSpPr>
          <p:spPr>
            <a:xfrm>
              <a:off x="9507484" y="494245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8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S</a:t>
              </a:r>
            </a:p>
          </p:txBody>
        </p:sp>
        <p:sp>
          <p:nvSpPr>
            <p:cNvPr id="8" name="Pie 48"/>
            <p:cNvSpPr/>
            <p:nvPr userDrawn="1"/>
          </p:nvSpPr>
          <p:spPr>
            <a:xfrm rot="5400000">
              <a:off x="12249012" y="4136609"/>
              <a:ext cx="3538914" cy="3539375"/>
            </a:xfrm>
            <a:prstGeom prst="pieWedg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Pie 51"/>
            <p:cNvSpPr/>
            <p:nvPr userDrawn="1"/>
          </p:nvSpPr>
          <p:spPr>
            <a:xfrm rot="16200000">
              <a:off x="8555721" y="7804935"/>
              <a:ext cx="3538914" cy="3539375"/>
            </a:xfrm>
            <a:prstGeom prst="pieWedg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Pie 54"/>
            <p:cNvSpPr/>
            <p:nvPr userDrawn="1"/>
          </p:nvSpPr>
          <p:spPr>
            <a:xfrm rot="10800000">
              <a:off x="12248782" y="7791653"/>
              <a:ext cx="3539375" cy="3538914"/>
            </a:xfrm>
            <a:prstGeom prst="pieWedg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Circular Arrow 56"/>
            <p:cNvSpPr/>
            <p:nvPr userDrawn="1"/>
          </p:nvSpPr>
          <p:spPr>
            <a:xfrm>
              <a:off x="11553132" y="699791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Circular Arrow 57"/>
            <p:cNvSpPr/>
            <p:nvPr userDrawn="1"/>
          </p:nvSpPr>
          <p:spPr>
            <a:xfrm rot="10800000">
              <a:off x="11553132" y="740656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Pie 4"/>
            <p:cNvSpPr/>
            <p:nvPr userDrawn="1"/>
          </p:nvSpPr>
          <p:spPr>
            <a:xfrm>
              <a:off x="9479262" y="806920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1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O</a:t>
              </a:r>
            </a:p>
          </p:txBody>
        </p:sp>
        <p:sp>
          <p:nvSpPr>
            <p:cNvPr id="14" name="Pie 4"/>
            <p:cNvSpPr/>
            <p:nvPr userDrawn="1"/>
          </p:nvSpPr>
          <p:spPr>
            <a:xfrm>
              <a:off x="12357886" y="4949276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W</a:t>
              </a:r>
            </a:p>
          </p:txBody>
        </p:sp>
        <p:sp>
          <p:nvSpPr>
            <p:cNvPr id="15" name="Pie 4"/>
            <p:cNvSpPr/>
            <p:nvPr userDrawn="1"/>
          </p:nvSpPr>
          <p:spPr>
            <a:xfrm>
              <a:off x="12428531" y="8173292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T</a:t>
              </a:r>
            </a:p>
          </p:txBody>
        </p:sp>
      </p:grpSp>
      <p:sp>
        <p:nvSpPr>
          <p:cNvPr id="16" name="Ovaal 15"/>
          <p:cNvSpPr/>
          <p:nvPr userDrawn="1"/>
        </p:nvSpPr>
        <p:spPr>
          <a:xfrm>
            <a:off x="579438" y="1789214"/>
            <a:ext cx="811746" cy="8117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64"/>
          <p:cNvSpPr txBox="1"/>
          <p:nvPr userDrawn="1"/>
        </p:nvSpPr>
        <p:spPr>
          <a:xfrm>
            <a:off x="1401344" y="1783398"/>
            <a:ext cx="2929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STRENGHT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STERKE PUNTEN</a:t>
            </a:r>
          </a:p>
        </p:txBody>
      </p:sp>
      <p:sp>
        <p:nvSpPr>
          <p:cNvPr id="21" name="TextBox 65"/>
          <p:cNvSpPr txBox="1"/>
          <p:nvPr userDrawn="1"/>
        </p:nvSpPr>
        <p:spPr>
          <a:xfrm>
            <a:off x="1404075" y="4217776"/>
            <a:ext cx="264893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OPPORTUNITIE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KANSEN</a:t>
            </a:r>
          </a:p>
        </p:txBody>
      </p:sp>
      <p:sp>
        <p:nvSpPr>
          <p:cNvPr id="22" name="TextBox 66"/>
          <p:cNvSpPr txBox="1"/>
          <p:nvPr userDrawn="1"/>
        </p:nvSpPr>
        <p:spPr>
          <a:xfrm>
            <a:off x="8011647" y="1783398"/>
            <a:ext cx="240811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WEAKNES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ZWAKTES</a:t>
            </a:r>
          </a:p>
        </p:txBody>
      </p:sp>
      <p:sp>
        <p:nvSpPr>
          <p:cNvPr id="23" name="TextBox 67"/>
          <p:cNvSpPr txBox="1"/>
          <p:nvPr userDrawn="1"/>
        </p:nvSpPr>
        <p:spPr>
          <a:xfrm>
            <a:off x="7730803" y="4217776"/>
            <a:ext cx="268896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Threat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BEDREIGINGEN</a:t>
            </a:r>
          </a:p>
        </p:txBody>
      </p:sp>
      <p:sp>
        <p:nvSpPr>
          <p:cNvPr id="25" name="Ovaal 24"/>
          <p:cNvSpPr/>
          <p:nvPr userDrawn="1"/>
        </p:nvSpPr>
        <p:spPr>
          <a:xfrm>
            <a:off x="579438" y="4188599"/>
            <a:ext cx="811746" cy="81174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Ovaal 25"/>
          <p:cNvSpPr/>
          <p:nvPr userDrawn="1"/>
        </p:nvSpPr>
        <p:spPr>
          <a:xfrm>
            <a:off x="10504800" y="1789214"/>
            <a:ext cx="811746" cy="81174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Ovaal 26"/>
          <p:cNvSpPr/>
          <p:nvPr userDrawn="1"/>
        </p:nvSpPr>
        <p:spPr>
          <a:xfrm>
            <a:off x="10504800" y="4188599"/>
            <a:ext cx="811746" cy="81174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Tijdelijke aanduiding voor tekst 28"/>
          <p:cNvSpPr>
            <a:spLocks noGrp="1"/>
          </p:cNvSpPr>
          <p:nvPr>
            <p:ph type="body" sz="quarter" idx="11" hasCustomPrompt="1"/>
          </p:nvPr>
        </p:nvSpPr>
        <p:spPr>
          <a:xfrm>
            <a:off x="1402397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strong points...</a:t>
            </a:r>
            <a:endParaRPr lang="en-US" dirty="0"/>
          </a:p>
        </p:txBody>
      </p:sp>
      <p:sp>
        <p:nvSpPr>
          <p:cNvPr id="30" name="Tijdelijke aanduiding voor tekst 28"/>
          <p:cNvSpPr>
            <a:spLocks noGrp="1"/>
          </p:cNvSpPr>
          <p:nvPr>
            <p:ph type="body" sz="quarter" idx="12" hasCustomPrompt="1"/>
          </p:nvPr>
        </p:nvSpPr>
        <p:spPr>
          <a:xfrm>
            <a:off x="1402397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opportunities...</a:t>
            </a:r>
            <a:endParaRPr lang="en-US" dirty="0"/>
          </a:p>
        </p:txBody>
      </p:sp>
      <p:sp>
        <p:nvSpPr>
          <p:cNvPr id="31" name="Tijdelijke aanduiding voor tekst 28"/>
          <p:cNvSpPr>
            <a:spLocks noGrp="1"/>
          </p:cNvSpPr>
          <p:nvPr>
            <p:ph type="body" sz="quarter" idx="13" hasCustomPrompt="1"/>
          </p:nvPr>
        </p:nvSpPr>
        <p:spPr>
          <a:xfrm>
            <a:off x="7696029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weaknesses…</a:t>
            </a:r>
            <a:endParaRPr lang="en-US" dirty="0"/>
          </a:p>
        </p:txBody>
      </p:sp>
      <p:sp>
        <p:nvSpPr>
          <p:cNvPr id="32" name="Tijdelijke aanduiding voor tekst 28"/>
          <p:cNvSpPr>
            <a:spLocks noGrp="1"/>
          </p:cNvSpPr>
          <p:nvPr>
            <p:ph type="body" sz="quarter" idx="14" hasCustomPrompt="1"/>
          </p:nvPr>
        </p:nvSpPr>
        <p:spPr>
          <a:xfrm>
            <a:off x="7696029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threats...</a:t>
            </a:r>
            <a:endParaRPr lang="en-US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33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3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187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3277318" y="893762"/>
            <a:ext cx="5718742" cy="4920622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019266" y="1796421"/>
            <a:ext cx="4185603" cy="26057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846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in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2194560" y="700723"/>
            <a:ext cx="7884258" cy="6783914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3215040" y="1948821"/>
            <a:ext cx="5779322" cy="35839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icoon</a:t>
            </a:r>
            <a:r>
              <a:rPr lang="en-US" dirty="0"/>
              <a:t> om </a:t>
            </a:r>
            <a:r>
              <a:rPr lang="en-US" dirty="0" err="1"/>
              <a:t>afbeelding</a:t>
            </a:r>
            <a:r>
              <a:rPr lang="en-US" dirty="0"/>
              <a:t> to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9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o am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1185332" y="2333305"/>
            <a:ext cx="2418934" cy="22151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to add image</a:t>
            </a:r>
            <a:endParaRPr lang="en-US" dirty="0"/>
          </a:p>
        </p:txBody>
      </p:sp>
      <p:cxnSp>
        <p:nvCxnSpPr>
          <p:cNvPr id="12" name="Straight Connector 38"/>
          <p:cNvCxnSpPr/>
          <p:nvPr userDrawn="1"/>
        </p:nvCxnSpPr>
        <p:spPr>
          <a:xfrm>
            <a:off x="389344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tekst 15"/>
          <p:cNvSpPr>
            <a:spLocks noGrp="1"/>
          </p:cNvSpPr>
          <p:nvPr>
            <p:ph type="body" sz="quarter" idx="12" hasCustomPrompt="1"/>
          </p:nvPr>
        </p:nvSpPr>
        <p:spPr>
          <a:xfrm>
            <a:off x="4135278" y="2333625"/>
            <a:ext cx="3576638" cy="409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35278" y="2916238"/>
            <a:ext cx="3576638" cy="1631950"/>
          </a:xfrm>
          <a:prstGeom prst="rect">
            <a:avLst/>
          </a:prstGeom>
        </p:spPr>
        <p:txBody>
          <a:bodyPr/>
          <a:lstStyle>
            <a:lvl1pPr marL="0" indent="0" algn="just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Tell something about yourself…</a:t>
            </a:r>
            <a:endParaRPr lang="en-US" dirty="0"/>
          </a:p>
        </p:txBody>
      </p:sp>
      <p:cxnSp>
        <p:nvCxnSpPr>
          <p:cNvPr id="19" name="Straight Connector 38"/>
          <p:cNvCxnSpPr/>
          <p:nvPr userDrawn="1"/>
        </p:nvCxnSpPr>
        <p:spPr>
          <a:xfrm>
            <a:off x="798792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223251" y="88584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979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media 3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2468212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43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10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357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tx2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32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19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 userDrawn="1"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0314" y="2382838"/>
            <a:ext cx="4839336" cy="29924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413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0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78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6225988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/>
              <a:t>Click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image</a:t>
            </a:r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787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5828982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447357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/>
              <a:t>Click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image</a:t>
            </a:r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134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 userDrawn="1"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0314" y="2382838"/>
            <a:ext cx="4839336" cy="29924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49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77520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84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9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pic>
        <p:nvPicPr>
          <p:cNvPr id="13" name="Picture 27" descr="ipa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121" y="2291025"/>
            <a:ext cx="4915097" cy="3567164"/>
          </a:xfrm>
          <a:prstGeom prst="rect">
            <a:avLst/>
          </a:prstGeom>
        </p:spPr>
      </p:pic>
      <p:sp>
        <p:nvSpPr>
          <p:cNvPr id="15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481943"/>
            <a:ext cx="4084319" cy="30949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ck on the icon to insert image</a:t>
            </a:r>
            <a:endParaRPr lang="en-US" dirty="0"/>
          </a:p>
        </p:txBody>
      </p:sp>
      <p:sp>
        <p:nvSpPr>
          <p:cNvPr id="1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58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78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4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20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770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5994400" y="1773238"/>
            <a:ext cx="5405438" cy="40941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 Hebrew" charset="-79"/>
              <a:ea typeface="Arial Hebrew" charset="-79"/>
              <a:cs typeface="Arial Hebrew" charset="-79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197600" y="1930400"/>
            <a:ext cx="5038725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4988" indent="-263525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8" name="Rechthoek 7"/>
          <p:cNvSpPr/>
          <p:nvPr userDrawn="1"/>
        </p:nvSpPr>
        <p:spPr>
          <a:xfrm>
            <a:off x="447357" y="1773238"/>
            <a:ext cx="5547043" cy="4094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14"/>
          </p:nvPr>
        </p:nvSpPr>
        <p:spPr>
          <a:xfrm>
            <a:off x="660164" y="1930400"/>
            <a:ext cx="5170723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Calibri" panose="020F0502020204030204" pitchFamily="34" charset="0"/>
              <a:buChar char="-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00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77520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992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/>
          <p:cNvGrpSpPr/>
          <p:nvPr userDrawn="1"/>
        </p:nvGrpSpPr>
        <p:grpSpPr>
          <a:xfrm>
            <a:off x="4201965" y="2080060"/>
            <a:ext cx="3443264" cy="3431160"/>
            <a:chOff x="8555490" y="4136840"/>
            <a:chExt cx="7232667" cy="7207240"/>
          </a:xfrm>
        </p:grpSpPr>
        <p:sp>
          <p:nvSpPr>
            <p:cNvPr id="5" name="Pie 45"/>
            <p:cNvSpPr/>
            <p:nvPr userDrawn="1"/>
          </p:nvSpPr>
          <p:spPr>
            <a:xfrm>
              <a:off x="8555491" y="4159929"/>
              <a:ext cx="3539375" cy="3538914"/>
            </a:xfrm>
            <a:prstGeom prst="pieWedg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Pie 4"/>
            <p:cNvSpPr/>
            <p:nvPr userDrawn="1"/>
          </p:nvSpPr>
          <p:spPr>
            <a:xfrm>
              <a:off x="9507484" y="494245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8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S</a:t>
              </a:r>
            </a:p>
          </p:txBody>
        </p:sp>
        <p:sp>
          <p:nvSpPr>
            <p:cNvPr id="8" name="Pie 48"/>
            <p:cNvSpPr/>
            <p:nvPr userDrawn="1"/>
          </p:nvSpPr>
          <p:spPr>
            <a:xfrm rot="5400000">
              <a:off x="12249012" y="4136609"/>
              <a:ext cx="3538914" cy="3539375"/>
            </a:xfrm>
            <a:prstGeom prst="pieWedg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Pie 51"/>
            <p:cNvSpPr/>
            <p:nvPr userDrawn="1"/>
          </p:nvSpPr>
          <p:spPr>
            <a:xfrm rot="16200000">
              <a:off x="8555721" y="7804935"/>
              <a:ext cx="3538914" cy="3539375"/>
            </a:xfrm>
            <a:prstGeom prst="pieWedg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Pie 54"/>
            <p:cNvSpPr/>
            <p:nvPr userDrawn="1"/>
          </p:nvSpPr>
          <p:spPr>
            <a:xfrm rot="10800000">
              <a:off x="12248782" y="7791653"/>
              <a:ext cx="3539375" cy="3538914"/>
            </a:xfrm>
            <a:prstGeom prst="pieWedg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Circular Arrow 56"/>
            <p:cNvSpPr/>
            <p:nvPr userDrawn="1"/>
          </p:nvSpPr>
          <p:spPr>
            <a:xfrm>
              <a:off x="11553132" y="699791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Circular Arrow 57"/>
            <p:cNvSpPr/>
            <p:nvPr userDrawn="1"/>
          </p:nvSpPr>
          <p:spPr>
            <a:xfrm rot="10800000">
              <a:off x="11553132" y="740656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Pie 4"/>
            <p:cNvSpPr/>
            <p:nvPr userDrawn="1"/>
          </p:nvSpPr>
          <p:spPr>
            <a:xfrm>
              <a:off x="9479262" y="806920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1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O</a:t>
              </a:r>
            </a:p>
          </p:txBody>
        </p:sp>
        <p:sp>
          <p:nvSpPr>
            <p:cNvPr id="14" name="Pie 4"/>
            <p:cNvSpPr/>
            <p:nvPr userDrawn="1"/>
          </p:nvSpPr>
          <p:spPr>
            <a:xfrm>
              <a:off x="12357886" y="4949276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W</a:t>
              </a:r>
            </a:p>
          </p:txBody>
        </p:sp>
        <p:sp>
          <p:nvSpPr>
            <p:cNvPr id="15" name="Pie 4"/>
            <p:cNvSpPr/>
            <p:nvPr userDrawn="1"/>
          </p:nvSpPr>
          <p:spPr>
            <a:xfrm>
              <a:off x="12428531" y="8173292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T</a:t>
              </a:r>
            </a:p>
          </p:txBody>
        </p:sp>
      </p:grpSp>
      <p:sp>
        <p:nvSpPr>
          <p:cNvPr id="16" name="Ovaal 15"/>
          <p:cNvSpPr/>
          <p:nvPr userDrawn="1"/>
        </p:nvSpPr>
        <p:spPr>
          <a:xfrm>
            <a:off x="579438" y="1789214"/>
            <a:ext cx="811746" cy="8117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64"/>
          <p:cNvSpPr txBox="1"/>
          <p:nvPr userDrawn="1"/>
        </p:nvSpPr>
        <p:spPr>
          <a:xfrm>
            <a:off x="1401344" y="1783398"/>
            <a:ext cx="2929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STRENGHT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STERKE PUNTEN</a:t>
            </a:r>
          </a:p>
        </p:txBody>
      </p:sp>
      <p:sp>
        <p:nvSpPr>
          <p:cNvPr id="21" name="TextBox 65"/>
          <p:cNvSpPr txBox="1"/>
          <p:nvPr userDrawn="1"/>
        </p:nvSpPr>
        <p:spPr>
          <a:xfrm>
            <a:off x="1404075" y="4217776"/>
            <a:ext cx="264893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OPPORTUNITIE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KANSEN</a:t>
            </a:r>
          </a:p>
        </p:txBody>
      </p:sp>
      <p:sp>
        <p:nvSpPr>
          <p:cNvPr id="22" name="TextBox 66"/>
          <p:cNvSpPr txBox="1"/>
          <p:nvPr userDrawn="1"/>
        </p:nvSpPr>
        <p:spPr>
          <a:xfrm>
            <a:off x="8011647" y="1783398"/>
            <a:ext cx="240811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WEAKNES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ZWAKTES</a:t>
            </a:r>
          </a:p>
        </p:txBody>
      </p:sp>
      <p:sp>
        <p:nvSpPr>
          <p:cNvPr id="23" name="TextBox 67"/>
          <p:cNvSpPr txBox="1"/>
          <p:nvPr userDrawn="1"/>
        </p:nvSpPr>
        <p:spPr>
          <a:xfrm>
            <a:off x="7730803" y="4217776"/>
            <a:ext cx="268896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Threat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BEDREIGINGEN</a:t>
            </a:r>
          </a:p>
        </p:txBody>
      </p:sp>
      <p:sp>
        <p:nvSpPr>
          <p:cNvPr id="25" name="Ovaal 24"/>
          <p:cNvSpPr/>
          <p:nvPr userDrawn="1"/>
        </p:nvSpPr>
        <p:spPr>
          <a:xfrm>
            <a:off x="579438" y="4188599"/>
            <a:ext cx="811746" cy="81174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Ovaal 25"/>
          <p:cNvSpPr/>
          <p:nvPr userDrawn="1"/>
        </p:nvSpPr>
        <p:spPr>
          <a:xfrm>
            <a:off x="10504800" y="1789214"/>
            <a:ext cx="811746" cy="81174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Ovaal 26"/>
          <p:cNvSpPr/>
          <p:nvPr userDrawn="1"/>
        </p:nvSpPr>
        <p:spPr>
          <a:xfrm>
            <a:off x="10504800" y="4188599"/>
            <a:ext cx="811746" cy="81174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Tijdelijke aanduiding voor tekst 28"/>
          <p:cNvSpPr>
            <a:spLocks noGrp="1"/>
          </p:cNvSpPr>
          <p:nvPr>
            <p:ph type="body" sz="quarter" idx="11" hasCustomPrompt="1"/>
          </p:nvPr>
        </p:nvSpPr>
        <p:spPr>
          <a:xfrm>
            <a:off x="1402397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strong points...</a:t>
            </a:r>
            <a:endParaRPr lang="en-US" dirty="0"/>
          </a:p>
        </p:txBody>
      </p:sp>
      <p:sp>
        <p:nvSpPr>
          <p:cNvPr id="30" name="Tijdelijke aanduiding voor tekst 28"/>
          <p:cNvSpPr>
            <a:spLocks noGrp="1"/>
          </p:cNvSpPr>
          <p:nvPr>
            <p:ph type="body" sz="quarter" idx="12" hasCustomPrompt="1"/>
          </p:nvPr>
        </p:nvSpPr>
        <p:spPr>
          <a:xfrm>
            <a:off x="1402397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opportunities...</a:t>
            </a:r>
            <a:endParaRPr lang="en-US" dirty="0"/>
          </a:p>
        </p:txBody>
      </p:sp>
      <p:sp>
        <p:nvSpPr>
          <p:cNvPr id="31" name="Tijdelijke aanduiding voor tekst 28"/>
          <p:cNvSpPr>
            <a:spLocks noGrp="1"/>
          </p:cNvSpPr>
          <p:nvPr>
            <p:ph type="body" sz="quarter" idx="13" hasCustomPrompt="1"/>
          </p:nvPr>
        </p:nvSpPr>
        <p:spPr>
          <a:xfrm>
            <a:off x="7696029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weaknesses…</a:t>
            </a:r>
            <a:endParaRPr lang="en-US" dirty="0"/>
          </a:p>
        </p:txBody>
      </p:sp>
      <p:sp>
        <p:nvSpPr>
          <p:cNvPr id="32" name="Tijdelijke aanduiding voor tekst 28"/>
          <p:cNvSpPr>
            <a:spLocks noGrp="1"/>
          </p:cNvSpPr>
          <p:nvPr>
            <p:ph type="body" sz="quarter" idx="14" hasCustomPrompt="1"/>
          </p:nvPr>
        </p:nvSpPr>
        <p:spPr>
          <a:xfrm>
            <a:off x="7696029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threats...</a:t>
            </a:r>
            <a:endParaRPr lang="en-US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33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3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292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3277318" y="893762"/>
            <a:ext cx="5718742" cy="4920622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019266" y="1796421"/>
            <a:ext cx="4185603" cy="26057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62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in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2194560" y="700723"/>
            <a:ext cx="7884258" cy="6783914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3215040" y="1948821"/>
            <a:ext cx="5779322" cy="35839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icoon</a:t>
            </a:r>
            <a:r>
              <a:rPr lang="en-US" dirty="0"/>
              <a:t> om </a:t>
            </a:r>
            <a:r>
              <a:rPr lang="en-US" dirty="0" err="1"/>
              <a:t>afbeelding</a:t>
            </a:r>
            <a:r>
              <a:rPr lang="en-US" dirty="0"/>
              <a:t> to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27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o am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1185332" y="2333305"/>
            <a:ext cx="2418934" cy="22151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to add image</a:t>
            </a:r>
            <a:endParaRPr lang="en-US" dirty="0"/>
          </a:p>
        </p:txBody>
      </p:sp>
      <p:cxnSp>
        <p:nvCxnSpPr>
          <p:cNvPr id="12" name="Straight Connector 38"/>
          <p:cNvCxnSpPr/>
          <p:nvPr userDrawn="1"/>
        </p:nvCxnSpPr>
        <p:spPr>
          <a:xfrm>
            <a:off x="389344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tekst 15"/>
          <p:cNvSpPr>
            <a:spLocks noGrp="1"/>
          </p:cNvSpPr>
          <p:nvPr>
            <p:ph type="body" sz="quarter" idx="12" hasCustomPrompt="1"/>
          </p:nvPr>
        </p:nvSpPr>
        <p:spPr>
          <a:xfrm>
            <a:off x="4135278" y="2333625"/>
            <a:ext cx="3576638" cy="409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35278" y="2916238"/>
            <a:ext cx="3576638" cy="1631950"/>
          </a:xfrm>
          <a:prstGeom prst="rect">
            <a:avLst/>
          </a:prstGeom>
        </p:spPr>
        <p:txBody>
          <a:bodyPr/>
          <a:lstStyle>
            <a:lvl1pPr marL="0" indent="0" algn="just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Tell something about yourself…</a:t>
            </a:r>
            <a:endParaRPr lang="en-US" dirty="0"/>
          </a:p>
        </p:txBody>
      </p:sp>
      <p:cxnSp>
        <p:nvCxnSpPr>
          <p:cNvPr id="19" name="Straight Connector 38"/>
          <p:cNvCxnSpPr/>
          <p:nvPr userDrawn="1"/>
        </p:nvCxnSpPr>
        <p:spPr>
          <a:xfrm>
            <a:off x="798792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223251" y="88584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884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media 3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353669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hoek 10"/>
          <p:cNvSpPr/>
          <p:nvPr userDrawn="1"/>
        </p:nvSpPr>
        <p:spPr>
          <a:xfrm>
            <a:off x="11422302" y="0"/>
            <a:ext cx="487680" cy="487680"/>
          </a:xfrm>
          <a:prstGeom prst="rect">
            <a:avLst/>
          </a:prstGeom>
          <a:solidFill>
            <a:srgbClr val="3395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hthoek 11"/>
          <p:cNvSpPr/>
          <p:nvPr userDrawn="1"/>
        </p:nvSpPr>
        <p:spPr>
          <a:xfrm>
            <a:off x="8140701" y="0"/>
            <a:ext cx="3281602" cy="487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77"/>
            <a:ext cx="12192000" cy="685847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12192000 w 12192000"/>
              <a:gd name="connsiteY2" fmla="*/ 7620 h 6865620"/>
              <a:gd name="connsiteX3" fmla="*/ 12192000 w 12192000"/>
              <a:gd name="connsiteY3" fmla="*/ 6865620 h 6865620"/>
              <a:gd name="connsiteX4" fmla="*/ 0 w 12192000"/>
              <a:gd name="connsiteY4" fmla="*/ 6865620 h 6865620"/>
              <a:gd name="connsiteX5" fmla="*/ 0 w 12192000"/>
              <a:gd name="connsiteY5" fmla="*/ 7620 h 6865620"/>
              <a:gd name="connsiteX0" fmla="*/ 0 w 12192000"/>
              <a:gd name="connsiteY0" fmla="*/ 15240 h 6873240"/>
              <a:gd name="connsiteX1" fmla="*/ 8846820 w 12192000"/>
              <a:gd name="connsiteY1" fmla="*/ 7620 h 6873240"/>
              <a:gd name="connsiteX2" fmla="*/ 10416540 w 12192000"/>
              <a:gd name="connsiteY2" fmla="*/ 0 h 6873240"/>
              <a:gd name="connsiteX3" fmla="*/ 12192000 w 12192000"/>
              <a:gd name="connsiteY3" fmla="*/ 15240 h 6873240"/>
              <a:gd name="connsiteX4" fmla="*/ 12192000 w 12192000"/>
              <a:gd name="connsiteY4" fmla="*/ 6873240 h 6873240"/>
              <a:gd name="connsiteX5" fmla="*/ 0 w 12192000"/>
              <a:gd name="connsiteY5" fmla="*/ 6873240 h 6873240"/>
              <a:gd name="connsiteX6" fmla="*/ 0 w 12192000"/>
              <a:gd name="connsiteY6" fmla="*/ 15240 h 687324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2192000 w 12192000"/>
              <a:gd name="connsiteY3" fmla="*/ 7620 h 6865620"/>
              <a:gd name="connsiteX4" fmla="*/ 12192000 w 12192000"/>
              <a:gd name="connsiteY4" fmla="*/ 6865620 h 6865620"/>
              <a:gd name="connsiteX5" fmla="*/ 0 w 12192000"/>
              <a:gd name="connsiteY5" fmla="*/ 6865620 h 6865620"/>
              <a:gd name="connsiteX6" fmla="*/ 0 w 12192000"/>
              <a:gd name="connsiteY6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0386060 w 12192000"/>
              <a:gd name="connsiteY3" fmla="*/ 26670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092940 w 12192000"/>
              <a:gd name="connsiteY4" fmla="*/ 16764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1768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146732 w 12192000"/>
              <a:gd name="connsiteY2" fmla="*/ 492918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6732 w 12192000"/>
              <a:gd name="connsiteY2" fmla="*/ 48577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2440 w 12192000"/>
              <a:gd name="connsiteY5" fmla="*/ 48053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477">
                <a:moveTo>
                  <a:pt x="0" y="477"/>
                </a:moveTo>
                <a:lnTo>
                  <a:pt x="8144351" y="0"/>
                </a:lnTo>
                <a:cubicBezTo>
                  <a:pt x="8145145" y="161925"/>
                  <a:pt x="8143663" y="431853"/>
                  <a:pt x="8144192" y="457835"/>
                </a:cubicBezTo>
                <a:cubicBezTo>
                  <a:pt x="8144721" y="483817"/>
                  <a:pt x="8166470" y="474531"/>
                  <a:pt x="8247380" y="477997"/>
                </a:cubicBezTo>
                <a:lnTo>
                  <a:pt x="11875770" y="478632"/>
                </a:lnTo>
                <a:cubicBezTo>
                  <a:pt x="11884025" y="467837"/>
                  <a:pt x="11901805" y="489427"/>
                  <a:pt x="11900535" y="446247"/>
                </a:cubicBezTo>
                <a:lnTo>
                  <a:pt x="11902440" y="477"/>
                </a:lnTo>
                <a:lnTo>
                  <a:pt x="12192000" y="477"/>
                </a:lnTo>
                <a:lnTo>
                  <a:pt x="12192000" y="6858477"/>
                </a:lnTo>
                <a:lnTo>
                  <a:pt x="0" y="6858477"/>
                </a:lnTo>
                <a:lnTo>
                  <a:pt x="0" y="47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kern="120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0" name="Rechthoek 29"/>
          <p:cNvSpPr/>
          <p:nvPr userDrawn="1"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843782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3328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037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>
          <a:xfrm>
            <a:off x="609043" y="6356874"/>
            <a:ext cx="2844676" cy="363780"/>
          </a:xfrm>
          <a:prstGeom prst="rect">
            <a:avLst/>
          </a:prstGeom>
        </p:spPr>
        <p:txBody>
          <a:bodyPr lIns="106930" tIns="53465" rIns="106930" bIns="53465"/>
          <a:lstStyle>
            <a:lvl1pPr>
              <a:defRPr/>
            </a:lvl1pPr>
          </a:lstStyle>
          <a:p>
            <a:pPr>
              <a:defRPr/>
            </a:pPr>
            <a:fld id="{5450EBFB-FCC8-42DE-8313-BB59BEE66C0F}" type="datetimeFigureOut">
              <a:rPr lang="hu-HU">
                <a:solidFill>
                  <a:prstClr val="black"/>
                </a:solidFill>
              </a:rPr>
              <a:pPr>
                <a:defRPr/>
              </a:pPr>
              <a:t>2016.09.16.</a:t>
            </a:fld>
            <a:endParaRPr lang="hu-HU">
              <a:solidFill>
                <a:prstClr val="black"/>
              </a:solidFill>
            </a:endParaRPr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>
          <a:xfrm>
            <a:off x="4164889" y="6356874"/>
            <a:ext cx="3862224" cy="363780"/>
          </a:xfrm>
          <a:prstGeom prst="rect">
            <a:avLst/>
          </a:prstGeom>
        </p:spPr>
        <p:txBody>
          <a:bodyPr lIns="106930" tIns="53465" rIns="106930" bIns="53465"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>
          <a:xfrm>
            <a:off x="8738298" y="6356874"/>
            <a:ext cx="2844676" cy="363780"/>
          </a:xfrm>
          <a:prstGeom prst="rect">
            <a:avLst/>
          </a:prstGeom>
        </p:spPr>
        <p:txBody>
          <a:bodyPr lIns="106930" tIns="53465" rIns="106930" bIns="53465"/>
          <a:lstStyle>
            <a:lvl1pPr>
              <a:defRPr/>
            </a:lvl1pPr>
          </a:lstStyle>
          <a:p>
            <a:pPr>
              <a:defRPr/>
            </a:pPr>
            <a:fld id="{408C72FB-2583-451D-A7E0-662E05DA864A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1102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5994400" y="1773238"/>
            <a:ext cx="5405438" cy="40941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 Hebrew" charset="-79"/>
              <a:ea typeface="Arial Hebrew" charset="-79"/>
              <a:cs typeface="Arial Hebrew" charset="-79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197600" y="1930400"/>
            <a:ext cx="5038725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4988" indent="-263525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8" name="Rechthoek 7"/>
          <p:cNvSpPr/>
          <p:nvPr userDrawn="1"/>
        </p:nvSpPr>
        <p:spPr>
          <a:xfrm>
            <a:off x="447357" y="1773238"/>
            <a:ext cx="5547043" cy="4094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14"/>
          </p:nvPr>
        </p:nvSpPr>
        <p:spPr>
          <a:xfrm>
            <a:off x="660164" y="1930400"/>
            <a:ext cx="5170723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Calibri" panose="020F0502020204030204" pitchFamily="34" charset="0"/>
              <a:buChar char="-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948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/>
          <p:cNvGrpSpPr/>
          <p:nvPr userDrawn="1"/>
        </p:nvGrpSpPr>
        <p:grpSpPr>
          <a:xfrm>
            <a:off x="4201965" y="2080060"/>
            <a:ext cx="3443264" cy="3431160"/>
            <a:chOff x="8555490" y="4136840"/>
            <a:chExt cx="7232667" cy="7207240"/>
          </a:xfrm>
        </p:grpSpPr>
        <p:sp>
          <p:nvSpPr>
            <p:cNvPr id="5" name="Pie 45"/>
            <p:cNvSpPr/>
            <p:nvPr userDrawn="1"/>
          </p:nvSpPr>
          <p:spPr>
            <a:xfrm>
              <a:off x="8555491" y="4159929"/>
              <a:ext cx="3539375" cy="3538914"/>
            </a:xfrm>
            <a:prstGeom prst="pieWedg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Pie 4"/>
            <p:cNvSpPr/>
            <p:nvPr userDrawn="1"/>
          </p:nvSpPr>
          <p:spPr>
            <a:xfrm>
              <a:off x="9507484" y="494245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8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S</a:t>
              </a:r>
            </a:p>
          </p:txBody>
        </p:sp>
        <p:sp>
          <p:nvSpPr>
            <p:cNvPr id="8" name="Pie 48"/>
            <p:cNvSpPr/>
            <p:nvPr userDrawn="1"/>
          </p:nvSpPr>
          <p:spPr>
            <a:xfrm rot="5400000">
              <a:off x="12249012" y="4136609"/>
              <a:ext cx="3538914" cy="3539375"/>
            </a:xfrm>
            <a:prstGeom prst="pieWedg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Pie 51"/>
            <p:cNvSpPr/>
            <p:nvPr userDrawn="1"/>
          </p:nvSpPr>
          <p:spPr>
            <a:xfrm rot="16200000">
              <a:off x="8555721" y="7804935"/>
              <a:ext cx="3538914" cy="3539375"/>
            </a:xfrm>
            <a:prstGeom prst="pieWedg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Pie 54"/>
            <p:cNvSpPr/>
            <p:nvPr userDrawn="1"/>
          </p:nvSpPr>
          <p:spPr>
            <a:xfrm rot="10800000">
              <a:off x="12248782" y="7791653"/>
              <a:ext cx="3539375" cy="3538914"/>
            </a:xfrm>
            <a:prstGeom prst="pieWedg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Circular Arrow 56"/>
            <p:cNvSpPr/>
            <p:nvPr userDrawn="1"/>
          </p:nvSpPr>
          <p:spPr>
            <a:xfrm>
              <a:off x="11553132" y="699791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Circular Arrow 57"/>
            <p:cNvSpPr/>
            <p:nvPr userDrawn="1"/>
          </p:nvSpPr>
          <p:spPr>
            <a:xfrm rot="10800000">
              <a:off x="11553132" y="740656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Pie 4"/>
            <p:cNvSpPr/>
            <p:nvPr userDrawn="1"/>
          </p:nvSpPr>
          <p:spPr>
            <a:xfrm>
              <a:off x="9479262" y="806920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1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O</a:t>
              </a:r>
            </a:p>
          </p:txBody>
        </p:sp>
        <p:sp>
          <p:nvSpPr>
            <p:cNvPr id="14" name="Pie 4"/>
            <p:cNvSpPr/>
            <p:nvPr userDrawn="1"/>
          </p:nvSpPr>
          <p:spPr>
            <a:xfrm>
              <a:off x="12357886" y="4949276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W</a:t>
              </a:r>
            </a:p>
          </p:txBody>
        </p:sp>
        <p:sp>
          <p:nvSpPr>
            <p:cNvPr id="15" name="Pie 4"/>
            <p:cNvSpPr/>
            <p:nvPr userDrawn="1"/>
          </p:nvSpPr>
          <p:spPr>
            <a:xfrm>
              <a:off x="12428531" y="8173292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T</a:t>
              </a:r>
            </a:p>
          </p:txBody>
        </p:sp>
      </p:grpSp>
      <p:sp>
        <p:nvSpPr>
          <p:cNvPr id="16" name="Ovaal 15"/>
          <p:cNvSpPr/>
          <p:nvPr userDrawn="1"/>
        </p:nvSpPr>
        <p:spPr>
          <a:xfrm>
            <a:off x="579438" y="1789214"/>
            <a:ext cx="811746" cy="8117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64"/>
          <p:cNvSpPr txBox="1"/>
          <p:nvPr userDrawn="1"/>
        </p:nvSpPr>
        <p:spPr>
          <a:xfrm>
            <a:off x="1401344" y="1783398"/>
            <a:ext cx="2929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STRENGHT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STERKE PUNTEN</a:t>
            </a:r>
          </a:p>
        </p:txBody>
      </p:sp>
      <p:sp>
        <p:nvSpPr>
          <p:cNvPr id="21" name="TextBox 65"/>
          <p:cNvSpPr txBox="1"/>
          <p:nvPr userDrawn="1"/>
        </p:nvSpPr>
        <p:spPr>
          <a:xfrm>
            <a:off x="1404075" y="4217776"/>
            <a:ext cx="264893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OPPORTUNITIE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KANSEN</a:t>
            </a:r>
          </a:p>
        </p:txBody>
      </p:sp>
      <p:sp>
        <p:nvSpPr>
          <p:cNvPr id="22" name="TextBox 66"/>
          <p:cNvSpPr txBox="1"/>
          <p:nvPr userDrawn="1"/>
        </p:nvSpPr>
        <p:spPr>
          <a:xfrm>
            <a:off x="8011647" y="1783398"/>
            <a:ext cx="240811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WEAKNES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ZWAKTES</a:t>
            </a:r>
          </a:p>
        </p:txBody>
      </p:sp>
      <p:sp>
        <p:nvSpPr>
          <p:cNvPr id="23" name="TextBox 67"/>
          <p:cNvSpPr txBox="1"/>
          <p:nvPr userDrawn="1"/>
        </p:nvSpPr>
        <p:spPr>
          <a:xfrm>
            <a:off x="7730803" y="4217776"/>
            <a:ext cx="268896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Threat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BEDREIGINGEN</a:t>
            </a:r>
          </a:p>
        </p:txBody>
      </p:sp>
      <p:sp>
        <p:nvSpPr>
          <p:cNvPr id="25" name="Ovaal 24"/>
          <p:cNvSpPr/>
          <p:nvPr userDrawn="1"/>
        </p:nvSpPr>
        <p:spPr>
          <a:xfrm>
            <a:off x="579438" y="4188599"/>
            <a:ext cx="811746" cy="81174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Ovaal 25"/>
          <p:cNvSpPr/>
          <p:nvPr userDrawn="1"/>
        </p:nvSpPr>
        <p:spPr>
          <a:xfrm>
            <a:off x="10504800" y="1789214"/>
            <a:ext cx="811746" cy="81174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Ovaal 26"/>
          <p:cNvSpPr/>
          <p:nvPr userDrawn="1"/>
        </p:nvSpPr>
        <p:spPr>
          <a:xfrm>
            <a:off x="10504800" y="4188599"/>
            <a:ext cx="811746" cy="81174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Tijdelijke aanduiding voor tekst 28"/>
          <p:cNvSpPr>
            <a:spLocks noGrp="1"/>
          </p:cNvSpPr>
          <p:nvPr>
            <p:ph type="body" sz="quarter" idx="11" hasCustomPrompt="1"/>
          </p:nvPr>
        </p:nvSpPr>
        <p:spPr>
          <a:xfrm>
            <a:off x="1402397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strong points...</a:t>
            </a:r>
            <a:endParaRPr lang="en-US" dirty="0"/>
          </a:p>
        </p:txBody>
      </p:sp>
      <p:sp>
        <p:nvSpPr>
          <p:cNvPr id="30" name="Tijdelijke aanduiding voor tekst 28"/>
          <p:cNvSpPr>
            <a:spLocks noGrp="1"/>
          </p:cNvSpPr>
          <p:nvPr>
            <p:ph type="body" sz="quarter" idx="12" hasCustomPrompt="1"/>
          </p:nvPr>
        </p:nvSpPr>
        <p:spPr>
          <a:xfrm>
            <a:off x="1402397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opportunities...</a:t>
            </a:r>
            <a:endParaRPr lang="en-US" dirty="0"/>
          </a:p>
        </p:txBody>
      </p:sp>
      <p:sp>
        <p:nvSpPr>
          <p:cNvPr id="31" name="Tijdelijke aanduiding voor tekst 28"/>
          <p:cNvSpPr>
            <a:spLocks noGrp="1"/>
          </p:cNvSpPr>
          <p:nvPr>
            <p:ph type="body" sz="quarter" idx="13" hasCustomPrompt="1"/>
          </p:nvPr>
        </p:nvSpPr>
        <p:spPr>
          <a:xfrm>
            <a:off x="7696029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weaknesses…</a:t>
            </a:r>
            <a:endParaRPr lang="en-US" dirty="0"/>
          </a:p>
        </p:txBody>
      </p:sp>
      <p:sp>
        <p:nvSpPr>
          <p:cNvPr id="32" name="Tijdelijke aanduiding voor tekst 28"/>
          <p:cNvSpPr>
            <a:spLocks noGrp="1"/>
          </p:cNvSpPr>
          <p:nvPr>
            <p:ph type="body" sz="quarter" idx="14" hasCustomPrompt="1"/>
          </p:nvPr>
        </p:nvSpPr>
        <p:spPr>
          <a:xfrm>
            <a:off x="7696029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threats...</a:t>
            </a:r>
            <a:endParaRPr lang="en-US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33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3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890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9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pic>
        <p:nvPicPr>
          <p:cNvPr id="13" name="Picture 27" descr="ipa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121" y="2291025"/>
            <a:ext cx="4915097" cy="3567164"/>
          </a:xfrm>
          <a:prstGeom prst="rect">
            <a:avLst/>
          </a:prstGeom>
        </p:spPr>
      </p:pic>
      <p:sp>
        <p:nvSpPr>
          <p:cNvPr id="15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481943"/>
            <a:ext cx="4084319" cy="30949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ck on the icon to insert image</a:t>
            </a:r>
            <a:endParaRPr lang="en-US" dirty="0"/>
          </a:p>
        </p:txBody>
      </p:sp>
      <p:sp>
        <p:nvSpPr>
          <p:cNvPr id="1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914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3277318" y="893762"/>
            <a:ext cx="5718742" cy="4920622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019266" y="1796421"/>
            <a:ext cx="4185603" cy="26057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163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in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2194560" y="700723"/>
            <a:ext cx="7884258" cy="6783914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3215040" y="1948821"/>
            <a:ext cx="5779322" cy="35839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icoon</a:t>
            </a:r>
            <a:r>
              <a:rPr lang="en-US" dirty="0"/>
              <a:t> om </a:t>
            </a:r>
            <a:r>
              <a:rPr lang="en-US" dirty="0" err="1"/>
              <a:t>afbeelding</a:t>
            </a:r>
            <a:r>
              <a:rPr lang="en-US" dirty="0"/>
              <a:t> to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581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o am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1185332" y="2333305"/>
            <a:ext cx="2418934" cy="22151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to add image</a:t>
            </a:r>
            <a:endParaRPr lang="en-US" dirty="0"/>
          </a:p>
        </p:txBody>
      </p:sp>
      <p:cxnSp>
        <p:nvCxnSpPr>
          <p:cNvPr id="12" name="Straight Connector 38"/>
          <p:cNvCxnSpPr/>
          <p:nvPr userDrawn="1"/>
        </p:nvCxnSpPr>
        <p:spPr>
          <a:xfrm>
            <a:off x="389344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tekst 15"/>
          <p:cNvSpPr>
            <a:spLocks noGrp="1"/>
          </p:cNvSpPr>
          <p:nvPr>
            <p:ph type="body" sz="quarter" idx="12" hasCustomPrompt="1"/>
          </p:nvPr>
        </p:nvSpPr>
        <p:spPr>
          <a:xfrm>
            <a:off x="4135278" y="2333625"/>
            <a:ext cx="3576638" cy="409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35278" y="2916238"/>
            <a:ext cx="3576638" cy="1631950"/>
          </a:xfrm>
          <a:prstGeom prst="rect">
            <a:avLst/>
          </a:prstGeom>
        </p:spPr>
        <p:txBody>
          <a:bodyPr/>
          <a:lstStyle>
            <a:lvl1pPr marL="0" indent="0" algn="just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Tell something about yourself…</a:t>
            </a:r>
            <a:endParaRPr lang="en-US" dirty="0"/>
          </a:p>
        </p:txBody>
      </p:sp>
      <p:cxnSp>
        <p:nvCxnSpPr>
          <p:cNvPr id="19" name="Straight Connector 38"/>
          <p:cNvCxnSpPr/>
          <p:nvPr userDrawn="1"/>
        </p:nvCxnSpPr>
        <p:spPr>
          <a:xfrm>
            <a:off x="798792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223251" y="88584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691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media 3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3446126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49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>
          <a:xfrm>
            <a:off x="609043" y="6356874"/>
            <a:ext cx="2844676" cy="363780"/>
          </a:xfrm>
          <a:prstGeom prst="rect">
            <a:avLst/>
          </a:prstGeom>
        </p:spPr>
        <p:txBody>
          <a:bodyPr lIns="106930" tIns="53465" rIns="106930" bIns="53465"/>
          <a:lstStyle>
            <a:lvl1pPr>
              <a:defRPr/>
            </a:lvl1pPr>
          </a:lstStyle>
          <a:p>
            <a:pPr>
              <a:defRPr/>
            </a:pPr>
            <a:fld id="{5450EBFB-FCC8-42DE-8313-BB59BEE66C0F}" type="datetimeFigureOut">
              <a:rPr lang="hu-HU">
                <a:solidFill>
                  <a:prstClr val="black"/>
                </a:solidFill>
              </a:rPr>
              <a:pPr>
                <a:defRPr/>
              </a:pPr>
              <a:t>2016.09.16.</a:t>
            </a:fld>
            <a:endParaRPr lang="hu-HU">
              <a:solidFill>
                <a:prstClr val="black"/>
              </a:solidFill>
            </a:endParaRPr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>
          <a:xfrm>
            <a:off x="4164889" y="6356874"/>
            <a:ext cx="3862224" cy="363780"/>
          </a:xfrm>
          <a:prstGeom prst="rect">
            <a:avLst/>
          </a:prstGeom>
        </p:spPr>
        <p:txBody>
          <a:bodyPr lIns="106930" tIns="53465" rIns="106930" bIns="53465"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>
          <a:xfrm>
            <a:off x="8738298" y="6356874"/>
            <a:ext cx="2844676" cy="363780"/>
          </a:xfrm>
          <a:prstGeom prst="rect">
            <a:avLst/>
          </a:prstGeom>
        </p:spPr>
        <p:txBody>
          <a:bodyPr lIns="106930" tIns="53465" rIns="106930" bIns="53465"/>
          <a:lstStyle>
            <a:lvl1pPr>
              <a:defRPr/>
            </a:lvl1pPr>
          </a:lstStyle>
          <a:p>
            <a:pPr>
              <a:defRPr/>
            </a:pPr>
            <a:fld id="{408C72FB-2583-451D-A7E0-662E05DA864A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15952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ef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5121" y="6404219"/>
            <a:ext cx="1024866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jdelijke aanduiding voor afbeelding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37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516284 w 12192000"/>
              <a:gd name="connsiteY3" fmla="*/ 6863787 h 6863787"/>
              <a:gd name="connsiteX4" fmla="*/ 0 w 12192000"/>
              <a:gd name="connsiteY4" fmla="*/ 6858000 h 6863787"/>
              <a:gd name="connsiteX5" fmla="*/ 0 w 12192000"/>
              <a:gd name="connsiteY5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5660020 w 12192000"/>
              <a:gd name="connsiteY3" fmla="*/ 6863787 h 6863787"/>
              <a:gd name="connsiteX4" fmla="*/ 1516284 w 12192000"/>
              <a:gd name="connsiteY4" fmla="*/ 6863787 h 6863787"/>
              <a:gd name="connsiteX5" fmla="*/ 0 w 12192000"/>
              <a:gd name="connsiteY5" fmla="*/ 6858000 h 6863787"/>
              <a:gd name="connsiteX6" fmla="*/ 0 w 12192000"/>
              <a:gd name="connsiteY6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8333772 w 12192000"/>
              <a:gd name="connsiteY3" fmla="*/ 6852213 h 6863787"/>
              <a:gd name="connsiteX4" fmla="*/ 5660020 w 12192000"/>
              <a:gd name="connsiteY4" fmla="*/ 6863787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8333772 w 12192000"/>
              <a:gd name="connsiteY3" fmla="*/ 6852213 h 6863787"/>
              <a:gd name="connsiteX4" fmla="*/ 1516283 w 12192000"/>
              <a:gd name="connsiteY4" fmla="*/ 5474825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898248 w 12192000"/>
              <a:gd name="connsiteY3" fmla="*/ 5104436 h 6863787"/>
              <a:gd name="connsiteX4" fmla="*/ 1516283 w 12192000"/>
              <a:gd name="connsiteY4" fmla="*/ 5474825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127848 w 12192000"/>
              <a:gd name="connsiteY3" fmla="*/ 6516547 h 6863787"/>
              <a:gd name="connsiteX4" fmla="*/ 1898248 w 12192000"/>
              <a:gd name="connsiteY4" fmla="*/ 5104436 h 6863787"/>
              <a:gd name="connsiteX5" fmla="*/ 1516283 w 12192000"/>
              <a:gd name="connsiteY5" fmla="*/ 5474825 h 6863787"/>
              <a:gd name="connsiteX6" fmla="*/ 1516284 w 12192000"/>
              <a:gd name="connsiteY6" fmla="*/ 6863787 h 6863787"/>
              <a:gd name="connsiteX7" fmla="*/ 0 w 12192000"/>
              <a:gd name="connsiteY7" fmla="*/ 6858000 h 6863787"/>
              <a:gd name="connsiteX8" fmla="*/ 0 w 12192000"/>
              <a:gd name="connsiteY8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208871 w 12192000"/>
              <a:gd name="connsiteY3" fmla="*/ 5104436 h 6863787"/>
              <a:gd name="connsiteX4" fmla="*/ 1898248 w 12192000"/>
              <a:gd name="connsiteY4" fmla="*/ 5104436 h 6863787"/>
              <a:gd name="connsiteX5" fmla="*/ 1516283 w 12192000"/>
              <a:gd name="connsiteY5" fmla="*/ 5474825 h 6863787"/>
              <a:gd name="connsiteX6" fmla="*/ 1516284 w 12192000"/>
              <a:gd name="connsiteY6" fmla="*/ 6863787 h 6863787"/>
              <a:gd name="connsiteX7" fmla="*/ 0 w 12192000"/>
              <a:gd name="connsiteY7" fmla="*/ 6858000 h 6863787"/>
              <a:gd name="connsiteX8" fmla="*/ 0 w 12192000"/>
              <a:gd name="connsiteY8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1482086 w 12192000"/>
              <a:gd name="connsiteY3" fmla="*/ 6215605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25559 w 12192000"/>
              <a:gd name="connsiteY3" fmla="*/ 6863787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454640 w 12192000"/>
              <a:gd name="connsiteY4" fmla="*/ 606044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8651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8143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63787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671279" y="6858707"/>
                </a:lnTo>
                <a:cubicBezTo>
                  <a:pt x="10670186" y="6386031"/>
                  <a:pt x="10675218" y="5287368"/>
                  <a:pt x="10675144" y="5197792"/>
                </a:cubicBezTo>
                <a:cubicBezTo>
                  <a:pt x="10675070" y="5108216"/>
                  <a:pt x="10647352" y="5105708"/>
                  <a:pt x="10570821" y="5106817"/>
                </a:cubicBezTo>
                <a:cubicBezTo>
                  <a:pt x="10494290" y="5107926"/>
                  <a:pt x="1762290" y="5105807"/>
                  <a:pt x="1657742" y="5104436"/>
                </a:cubicBezTo>
                <a:cubicBezTo>
                  <a:pt x="1553194" y="5103065"/>
                  <a:pt x="1514223" y="5110854"/>
                  <a:pt x="1513902" y="5198600"/>
                </a:cubicBezTo>
                <a:cubicBezTo>
                  <a:pt x="1513581" y="5286346"/>
                  <a:pt x="1516284" y="6400800"/>
                  <a:pt x="1516284" y="6863787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on the </a:t>
            </a:r>
            <a:r>
              <a:rPr lang="en-US" dirty="0" err="1"/>
              <a:t>centre</a:t>
            </a:r>
            <a:r>
              <a:rPr lang="en-US" dirty="0"/>
              <a:t>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1732350" y="5291942"/>
            <a:ext cx="5608250" cy="43752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7" name="Tijdelijke aanduiding voor tekst 16"/>
          <p:cNvSpPr>
            <a:spLocks noGrp="1"/>
          </p:cNvSpPr>
          <p:nvPr>
            <p:ph type="body" sz="quarter" idx="11" hasCustomPrompt="1"/>
          </p:nvPr>
        </p:nvSpPr>
        <p:spPr>
          <a:xfrm>
            <a:off x="1731963" y="5729288"/>
            <a:ext cx="5608637" cy="3816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9" name="Tijdelijke aanduiding voor tekst 18"/>
          <p:cNvSpPr>
            <a:spLocks noGrp="1"/>
          </p:cNvSpPr>
          <p:nvPr>
            <p:ph type="body" sz="quarter" idx="12" hasCustomPrompt="1"/>
          </p:nvPr>
        </p:nvSpPr>
        <p:spPr>
          <a:xfrm>
            <a:off x="7531099" y="5365213"/>
            <a:ext cx="2862263" cy="3460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Place, date, year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729740" y="6450568"/>
            <a:ext cx="47243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dirty="0">
                <a:solidFill>
                  <a:srgbClr val="0077C8"/>
                </a:solidFill>
              </a:rPr>
              <a:t>Helping people achieve a lifetime of financial security</a:t>
            </a:r>
            <a:endParaRPr lang="nl-NL" sz="1400" b="1" i="1" dirty="0">
              <a:solidFill>
                <a:srgbClr val="0077C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7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4200" userDrawn="1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external Par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5121" y="6404219"/>
            <a:ext cx="1024866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jdelijke aanduiding voor afbeelding 1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6378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516284 w 12192000"/>
              <a:gd name="connsiteY3" fmla="*/ 6863787 h 6863787"/>
              <a:gd name="connsiteX4" fmla="*/ 0 w 12192000"/>
              <a:gd name="connsiteY4" fmla="*/ 6858000 h 6863787"/>
              <a:gd name="connsiteX5" fmla="*/ 0 w 12192000"/>
              <a:gd name="connsiteY5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5660020 w 12192000"/>
              <a:gd name="connsiteY3" fmla="*/ 6863787 h 6863787"/>
              <a:gd name="connsiteX4" fmla="*/ 1516284 w 12192000"/>
              <a:gd name="connsiteY4" fmla="*/ 6863787 h 6863787"/>
              <a:gd name="connsiteX5" fmla="*/ 0 w 12192000"/>
              <a:gd name="connsiteY5" fmla="*/ 6858000 h 6863787"/>
              <a:gd name="connsiteX6" fmla="*/ 0 w 12192000"/>
              <a:gd name="connsiteY6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8333772 w 12192000"/>
              <a:gd name="connsiteY3" fmla="*/ 6852213 h 6863787"/>
              <a:gd name="connsiteX4" fmla="*/ 5660020 w 12192000"/>
              <a:gd name="connsiteY4" fmla="*/ 6863787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8333772 w 12192000"/>
              <a:gd name="connsiteY3" fmla="*/ 6852213 h 6863787"/>
              <a:gd name="connsiteX4" fmla="*/ 1516283 w 12192000"/>
              <a:gd name="connsiteY4" fmla="*/ 5474825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898248 w 12192000"/>
              <a:gd name="connsiteY3" fmla="*/ 5104436 h 6863787"/>
              <a:gd name="connsiteX4" fmla="*/ 1516283 w 12192000"/>
              <a:gd name="connsiteY4" fmla="*/ 5474825 h 6863787"/>
              <a:gd name="connsiteX5" fmla="*/ 1516284 w 12192000"/>
              <a:gd name="connsiteY5" fmla="*/ 6863787 h 6863787"/>
              <a:gd name="connsiteX6" fmla="*/ 0 w 12192000"/>
              <a:gd name="connsiteY6" fmla="*/ 6858000 h 6863787"/>
              <a:gd name="connsiteX7" fmla="*/ 0 w 12192000"/>
              <a:gd name="connsiteY7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127848 w 12192000"/>
              <a:gd name="connsiteY3" fmla="*/ 6516547 h 6863787"/>
              <a:gd name="connsiteX4" fmla="*/ 1898248 w 12192000"/>
              <a:gd name="connsiteY4" fmla="*/ 5104436 h 6863787"/>
              <a:gd name="connsiteX5" fmla="*/ 1516283 w 12192000"/>
              <a:gd name="connsiteY5" fmla="*/ 5474825 h 6863787"/>
              <a:gd name="connsiteX6" fmla="*/ 1516284 w 12192000"/>
              <a:gd name="connsiteY6" fmla="*/ 6863787 h 6863787"/>
              <a:gd name="connsiteX7" fmla="*/ 0 w 12192000"/>
              <a:gd name="connsiteY7" fmla="*/ 6858000 h 6863787"/>
              <a:gd name="connsiteX8" fmla="*/ 0 w 12192000"/>
              <a:gd name="connsiteY8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208871 w 12192000"/>
              <a:gd name="connsiteY3" fmla="*/ 5104436 h 6863787"/>
              <a:gd name="connsiteX4" fmla="*/ 1898248 w 12192000"/>
              <a:gd name="connsiteY4" fmla="*/ 5104436 h 6863787"/>
              <a:gd name="connsiteX5" fmla="*/ 1516283 w 12192000"/>
              <a:gd name="connsiteY5" fmla="*/ 5474825 h 6863787"/>
              <a:gd name="connsiteX6" fmla="*/ 1516284 w 12192000"/>
              <a:gd name="connsiteY6" fmla="*/ 6863787 h 6863787"/>
              <a:gd name="connsiteX7" fmla="*/ 0 w 12192000"/>
              <a:gd name="connsiteY7" fmla="*/ 6858000 h 6863787"/>
              <a:gd name="connsiteX8" fmla="*/ 0 w 12192000"/>
              <a:gd name="connsiteY8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1482086 w 12192000"/>
              <a:gd name="connsiteY3" fmla="*/ 6215605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25559 w 12192000"/>
              <a:gd name="connsiteY3" fmla="*/ 6863787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208871 w 12192000"/>
              <a:gd name="connsiteY4" fmla="*/ 5104436 h 6863787"/>
              <a:gd name="connsiteX5" fmla="*/ 1898248 w 12192000"/>
              <a:gd name="connsiteY5" fmla="*/ 5104436 h 6863787"/>
              <a:gd name="connsiteX6" fmla="*/ 1516283 w 12192000"/>
              <a:gd name="connsiteY6" fmla="*/ 5474825 h 6863787"/>
              <a:gd name="connsiteX7" fmla="*/ 1516284 w 12192000"/>
              <a:gd name="connsiteY7" fmla="*/ 6863787 h 6863787"/>
              <a:gd name="connsiteX8" fmla="*/ 0 w 12192000"/>
              <a:gd name="connsiteY8" fmla="*/ 6858000 h 6863787"/>
              <a:gd name="connsiteX9" fmla="*/ 0 w 12192000"/>
              <a:gd name="connsiteY9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454640 w 12192000"/>
              <a:gd name="connsiteY4" fmla="*/ 606044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56039 w 12192000"/>
              <a:gd name="connsiteY3" fmla="*/ 686378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8651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8143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6283 w 12192000"/>
              <a:gd name="connsiteY7" fmla="*/ 5474825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898248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1521 w 12192000"/>
              <a:gd name="connsiteY7" fmla="*/ 5300994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291469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68000 w 12192000"/>
              <a:gd name="connsiteY4" fmla="*/ 5440680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208871 w 12192000"/>
              <a:gd name="connsiteY5" fmla="*/ 5104436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  <a:gd name="connsiteX0" fmla="*/ 0 w 12192000"/>
              <a:gd name="connsiteY0" fmla="*/ 0 h 6863787"/>
              <a:gd name="connsiteX1" fmla="*/ 12192000 w 12192000"/>
              <a:gd name="connsiteY1" fmla="*/ 0 h 6863787"/>
              <a:gd name="connsiteX2" fmla="*/ 12192000 w 12192000"/>
              <a:gd name="connsiteY2" fmla="*/ 6858000 h 6863787"/>
              <a:gd name="connsiteX3" fmla="*/ 10671279 w 12192000"/>
              <a:gd name="connsiteY3" fmla="*/ 6858707 h 6863787"/>
              <a:gd name="connsiteX4" fmla="*/ 10675144 w 12192000"/>
              <a:gd name="connsiteY4" fmla="*/ 5197792 h 6863787"/>
              <a:gd name="connsiteX5" fmla="*/ 10570821 w 12192000"/>
              <a:gd name="connsiteY5" fmla="*/ 5106817 h 6863787"/>
              <a:gd name="connsiteX6" fmla="*/ 1657742 w 12192000"/>
              <a:gd name="connsiteY6" fmla="*/ 5104436 h 6863787"/>
              <a:gd name="connsiteX7" fmla="*/ 1513902 w 12192000"/>
              <a:gd name="connsiteY7" fmla="*/ 5198600 h 6863787"/>
              <a:gd name="connsiteX8" fmla="*/ 1516284 w 12192000"/>
              <a:gd name="connsiteY8" fmla="*/ 6863787 h 6863787"/>
              <a:gd name="connsiteX9" fmla="*/ 0 w 12192000"/>
              <a:gd name="connsiteY9" fmla="*/ 6858000 h 6863787"/>
              <a:gd name="connsiteX10" fmla="*/ 0 w 12192000"/>
              <a:gd name="connsiteY10" fmla="*/ 0 h 6863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63787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0671279" y="6858707"/>
                </a:lnTo>
                <a:cubicBezTo>
                  <a:pt x="10670186" y="6386031"/>
                  <a:pt x="10675218" y="5287368"/>
                  <a:pt x="10675144" y="5197792"/>
                </a:cubicBezTo>
                <a:cubicBezTo>
                  <a:pt x="10675070" y="5108216"/>
                  <a:pt x="10647352" y="5105708"/>
                  <a:pt x="10570821" y="5106817"/>
                </a:cubicBezTo>
                <a:cubicBezTo>
                  <a:pt x="10494290" y="5107926"/>
                  <a:pt x="1762290" y="5105807"/>
                  <a:pt x="1657742" y="5104436"/>
                </a:cubicBezTo>
                <a:cubicBezTo>
                  <a:pt x="1553194" y="5103065"/>
                  <a:pt x="1514223" y="5110854"/>
                  <a:pt x="1513902" y="5198600"/>
                </a:cubicBezTo>
                <a:cubicBezTo>
                  <a:pt x="1513581" y="5286346"/>
                  <a:pt x="1516284" y="6400800"/>
                  <a:pt x="1516284" y="6863787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on the </a:t>
            </a:r>
            <a:r>
              <a:rPr lang="en-US" dirty="0" err="1"/>
              <a:t>centre</a:t>
            </a:r>
            <a:r>
              <a:rPr lang="en-US" dirty="0"/>
              <a:t>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1732350" y="5291942"/>
            <a:ext cx="5608250" cy="43752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7" name="Tijdelijke aanduiding voor tekst 16"/>
          <p:cNvSpPr>
            <a:spLocks noGrp="1"/>
          </p:cNvSpPr>
          <p:nvPr>
            <p:ph type="body" sz="quarter" idx="11" hasCustomPrompt="1"/>
          </p:nvPr>
        </p:nvSpPr>
        <p:spPr>
          <a:xfrm>
            <a:off x="1731963" y="5729288"/>
            <a:ext cx="5608637" cy="3816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latin typeface="+mj-lt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9" name="Tijdelijke aanduiding voor tekst 18"/>
          <p:cNvSpPr>
            <a:spLocks noGrp="1"/>
          </p:cNvSpPr>
          <p:nvPr>
            <p:ph type="body" sz="quarter" idx="12" hasCustomPrompt="1"/>
          </p:nvPr>
        </p:nvSpPr>
        <p:spPr>
          <a:xfrm>
            <a:off x="7531099" y="5365213"/>
            <a:ext cx="2862263" cy="346075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="0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Place, date, year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7561263" y="628491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76074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420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hoek 10"/>
          <p:cNvSpPr/>
          <p:nvPr userDrawn="1"/>
        </p:nvSpPr>
        <p:spPr>
          <a:xfrm>
            <a:off x="11422302" y="0"/>
            <a:ext cx="487680" cy="487680"/>
          </a:xfrm>
          <a:prstGeom prst="rect">
            <a:avLst/>
          </a:prstGeom>
          <a:solidFill>
            <a:srgbClr val="3395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hthoek 11"/>
          <p:cNvSpPr/>
          <p:nvPr userDrawn="1"/>
        </p:nvSpPr>
        <p:spPr>
          <a:xfrm>
            <a:off x="8140701" y="0"/>
            <a:ext cx="3281602" cy="487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77"/>
            <a:ext cx="12192000" cy="685847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12192000 w 12192000"/>
              <a:gd name="connsiteY2" fmla="*/ 7620 h 6865620"/>
              <a:gd name="connsiteX3" fmla="*/ 12192000 w 12192000"/>
              <a:gd name="connsiteY3" fmla="*/ 6865620 h 6865620"/>
              <a:gd name="connsiteX4" fmla="*/ 0 w 12192000"/>
              <a:gd name="connsiteY4" fmla="*/ 6865620 h 6865620"/>
              <a:gd name="connsiteX5" fmla="*/ 0 w 12192000"/>
              <a:gd name="connsiteY5" fmla="*/ 7620 h 6865620"/>
              <a:gd name="connsiteX0" fmla="*/ 0 w 12192000"/>
              <a:gd name="connsiteY0" fmla="*/ 15240 h 6873240"/>
              <a:gd name="connsiteX1" fmla="*/ 8846820 w 12192000"/>
              <a:gd name="connsiteY1" fmla="*/ 7620 h 6873240"/>
              <a:gd name="connsiteX2" fmla="*/ 10416540 w 12192000"/>
              <a:gd name="connsiteY2" fmla="*/ 0 h 6873240"/>
              <a:gd name="connsiteX3" fmla="*/ 12192000 w 12192000"/>
              <a:gd name="connsiteY3" fmla="*/ 15240 h 6873240"/>
              <a:gd name="connsiteX4" fmla="*/ 12192000 w 12192000"/>
              <a:gd name="connsiteY4" fmla="*/ 6873240 h 6873240"/>
              <a:gd name="connsiteX5" fmla="*/ 0 w 12192000"/>
              <a:gd name="connsiteY5" fmla="*/ 6873240 h 6873240"/>
              <a:gd name="connsiteX6" fmla="*/ 0 w 12192000"/>
              <a:gd name="connsiteY6" fmla="*/ 15240 h 687324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2192000 w 12192000"/>
              <a:gd name="connsiteY3" fmla="*/ 7620 h 6865620"/>
              <a:gd name="connsiteX4" fmla="*/ 12192000 w 12192000"/>
              <a:gd name="connsiteY4" fmla="*/ 6865620 h 6865620"/>
              <a:gd name="connsiteX5" fmla="*/ 0 w 12192000"/>
              <a:gd name="connsiteY5" fmla="*/ 6865620 h 6865620"/>
              <a:gd name="connsiteX6" fmla="*/ 0 w 12192000"/>
              <a:gd name="connsiteY6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0386060 w 12192000"/>
              <a:gd name="connsiteY3" fmla="*/ 26670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092940 w 12192000"/>
              <a:gd name="connsiteY4" fmla="*/ 16764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1768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146732 w 12192000"/>
              <a:gd name="connsiteY2" fmla="*/ 492918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6732 w 12192000"/>
              <a:gd name="connsiteY2" fmla="*/ 48577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2440 w 12192000"/>
              <a:gd name="connsiteY5" fmla="*/ 48053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477">
                <a:moveTo>
                  <a:pt x="0" y="477"/>
                </a:moveTo>
                <a:lnTo>
                  <a:pt x="8144351" y="0"/>
                </a:lnTo>
                <a:cubicBezTo>
                  <a:pt x="8145145" y="161925"/>
                  <a:pt x="8143663" y="431853"/>
                  <a:pt x="8144192" y="457835"/>
                </a:cubicBezTo>
                <a:cubicBezTo>
                  <a:pt x="8144721" y="483817"/>
                  <a:pt x="8166470" y="474531"/>
                  <a:pt x="8247380" y="477997"/>
                </a:cubicBezTo>
                <a:lnTo>
                  <a:pt x="11875770" y="478632"/>
                </a:lnTo>
                <a:cubicBezTo>
                  <a:pt x="11884025" y="467837"/>
                  <a:pt x="11901805" y="489427"/>
                  <a:pt x="11900535" y="446247"/>
                </a:cubicBezTo>
                <a:lnTo>
                  <a:pt x="11902440" y="477"/>
                </a:lnTo>
                <a:lnTo>
                  <a:pt x="12192000" y="477"/>
                </a:lnTo>
                <a:lnTo>
                  <a:pt x="12192000" y="6858477"/>
                </a:lnTo>
                <a:lnTo>
                  <a:pt x="0" y="6858477"/>
                </a:lnTo>
                <a:lnTo>
                  <a:pt x="0" y="47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kern="120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0" name="Rechthoek 29"/>
          <p:cNvSpPr/>
          <p:nvPr userDrawn="1"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63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3328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 Same Side Corner Rectangle 9"/>
          <p:cNvSpPr/>
          <p:nvPr userDrawn="1"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8" name="Round Same Side Corner Rectangle 10"/>
          <p:cNvSpPr/>
          <p:nvPr userDrawn="1"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731963" y="1794151"/>
            <a:ext cx="9059500" cy="3110358"/>
          </a:xfrm>
          <a:prstGeom prst="rect">
            <a:avLst/>
          </a:prstGeom>
        </p:spPr>
        <p:txBody>
          <a:bodyPr lIns="0" anchor="ctr" anchorCtr="0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0" name="Rechthoek 29"/>
          <p:cNvSpPr/>
          <p:nvPr userDrawn="1"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935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332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2427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5994400" y="1773238"/>
            <a:ext cx="5405438" cy="40941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 Hebrew" charset="-79"/>
              <a:ea typeface="Arial Hebrew" charset="-79"/>
              <a:cs typeface="Arial Hebrew" charset="-79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197600" y="1930400"/>
            <a:ext cx="5038725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4988" indent="-263525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8" name="Rechthoek 7"/>
          <p:cNvSpPr/>
          <p:nvPr userDrawn="1"/>
        </p:nvSpPr>
        <p:spPr>
          <a:xfrm>
            <a:off x="447357" y="1773238"/>
            <a:ext cx="5547043" cy="4094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14"/>
          </p:nvPr>
        </p:nvSpPr>
        <p:spPr>
          <a:xfrm>
            <a:off x="660164" y="1930400"/>
            <a:ext cx="5170723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Calibri" panose="020F0502020204030204" pitchFamily="34" charset="0"/>
              <a:buChar char="-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589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/>
          <p:cNvGrpSpPr/>
          <p:nvPr userDrawn="1"/>
        </p:nvGrpSpPr>
        <p:grpSpPr>
          <a:xfrm>
            <a:off x="4201965" y="2080060"/>
            <a:ext cx="3443264" cy="3431160"/>
            <a:chOff x="8555490" y="4136840"/>
            <a:chExt cx="7232667" cy="7207240"/>
          </a:xfrm>
        </p:grpSpPr>
        <p:sp>
          <p:nvSpPr>
            <p:cNvPr id="5" name="Pie 45"/>
            <p:cNvSpPr/>
            <p:nvPr userDrawn="1"/>
          </p:nvSpPr>
          <p:spPr>
            <a:xfrm>
              <a:off x="8555491" y="4159929"/>
              <a:ext cx="3539375" cy="3538914"/>
            </a:xfrm>
            <a:prstGeom prst="pieWedg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Pie 4"/>
            <p:cNvSpPr/>
            <p:nvPr userDrawn="1"/>
          </p:nvSpPr>
          <p:spPr>
            <a:xfrm>
              <a:off x="9507484" y="494245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8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S</a:t>
              </a:r>
            </a:p>
          </p:txBody>
        </p:sp>
        <p:sp>
          <p:nvSpPr>
            <p:cNvPr id="8" name="Pie 48"/>
            <p:cNvSpPr/>
            <p:nvPr userDrawn="1"/>
          </p:nvSpPr>
          <p:spPr>
            <a:xfrm rot="5400000">
              <a:off x="12249012" y="4136609"/>
              <a:ext cx="3538914" cy="3539375"/>
            </a:xfrm>
            <a:prstGeom prst="pieWedg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Pie 51"/>
            <p:cNvSpPr/>
            <p:nvPr userDrawn="1"/>
          </p:nvSpPr>
          <p:spPr>
            <a:xfrm rot="16200000">
              <a:off x="8555721" y="7804935"/>
              <a:ext cx="3538914" cy="3539375"/>
            </a:xfrm>
            <a:prstGeom prst="pieWedg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Pie 54"/>
            <p:cNvSpPr/>
            <p:nvPr userDrawn="1"/>
          </p:nvSpPr>
          <p:spPr>
            <a:xfrm rot="10800000">
              <a:off x="12248782" y="7791653"/>
              <a:ext cx="3539375" cy="3538914"/>
            </a:xfrm>
            <a:prstGeom prst="pieWedg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Circular Arrow 56"/>
            <p:cNvSpPr/>
            <p:nvPr userDrawn="1"/>
          </p:nvSpPr>
          <p:spPr>
            <a:xfrm>
              <a:off x="11553132" y="699791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Circular Arrow 57"/>
            <p:cNvSpPr/>
            <p:nvPr userDrawn="1"/>
          </p:nvSpPr>
          <p:spPr>
            <a:xfrm rot="10800000">
              <a:off x="11553132" y="740656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Pie 4"/>
            <p:cNvSpPr/>
            <p:nvPr userDrawn="1"/>
          </p:nvSpPr>
          <p:spPr>
            <a:xfrm>
              <a:off x="9479262" y="806920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1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O</a:t>
              </a:r>
            </a:p>
          </p:txBody>
        </p:sp>
        <p:sp>
          <p:nvSpPr>
            <p:cNvPr id="14" name="Pie 4"/>
            <p:cNvSpPr/>
            <p:nvPr userDrawn="1"/>
          </p:nvSpPr>
          <p:spPr>
            <a:xfrm>
              <a:off x="12357886" y="4949276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W</a:t>
              </a:r>
            </a:p>
          </p:txBody>
        </p:sp>
        <p:sp>
          <p:nvSpPr>
            <p:cNvPr id="15" name="Pie 4"/>
            <p:cNvSpPr/>
            <p:nvPr userDrawn="1"/>
          </p:nvSpPr>
          <p:spPr>
            <a:xfrm>
              <a:off x="12428531" y="8173292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T</a:t>
              </a:r>
            </a:p>
          </p:txBody>
        </p:sp>
      </p:grpSp>
      <p:sp>
        <p:nvSpPr>
          <p:cNvPr id="16" name="Ovaal 15"/>
          <p:cNvSpPr/>
          <p:nvPr userDrawn="1"/>
        </p:nvSpPr>
        <p:spPr>
          <a:xfrm>
            <a:off x="579438" y="1789214"/>
            <a:ext cx="811746" cy="8117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64"/>
          <p:cNvSpPr txBox="1"/>
          <p:nvPr userDrawn="1"/>
        </p:nvSpPr>
        <p:spPr>
          <a:xfrm>
            <a:off x="1401344" y="1783398"/>
            <a:ext cx="2929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STRENGHT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STERKE PUNTEN</a:t>
            </a:r>
          </a:p>
        </p:txBody>
      </p:sp>
      <p:sp>
        <p:nvSpPr>
          <p:cNvPr id="21" name="TextBox 65"/>
          <p:cNvSpPr txBox="1"/>
          <p:nvPr userDrawn="1"/>
        </p:nvSpPr>
        <p:spPr>
          <a:xfrm>
            <a:off x="1404075" y="4217776"/>
            <a:ext cx="264893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OPPORTUNITIE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KANSEN</a:t>
            </a:r>
          </a:p>
        </p:txBody>
      </p:sp>
      <p:sp>
        <p:nvSpPr>
          <p:cNvPr id="22" name="TextBox 66"/>
          <p:cNvSpPr txBox="1"/>
          <p:nvPr userDrawn="1"/>
        </p:nvSpPr>
        <p:spPr>
          <a:xfrm>
            <a:off x="8011647" y="1783398"/>
            <a:ext cx="240811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WEAKNES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ZWAKTES</a:t>
            </a:r>
          </a:p>
        </p:txBody>
      </p:sp>
      <p:sp>
        <p:nvSpPr>
          <p:cNvPr id="23" name="TextBox 67"/>
          <p:cNvSpPr txBox="1"/>
          <p:nvPr userDrawn="1"/>
        </p:nvSpPr>
        <p:spPr>
          <a:xfrm>
            <a:off x="7730803" y="4217776"/>
            <a:ext cx="268896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Threat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BEDREIGINGEN</a:t>
            </a:r>
          </a:p>
        </p:txBody>
      </p:sp>
      <p:sp>
        <p:nvSpPr>
          <p:cNvPr id="25" name="Ovaal 24"/>
          <p:cNvSpPr/>
          <p:nvPr userDrawn="1"/>
        </p:nvSpPr>
        <p:spPr>
          <a:xfrm>
            <a:off x="579438" y="4188599"/>
            <a:ext cx="811746" cy="81174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Ovaal 25"/>
          <p:cNvSpPr/>
          <p:nvPr userDrawn="1"/>
        </p:nvSpPr>
        <p:spPr>
          <a:xfrm>
            <a:off x="10504800" y="1789214"/>
            <a:ext cx="811746" cy="81174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Ovaal 26"/>
          <p:cNvSpPr/>
          <p:nvPr userDrawn="1"/>
        </p:nvSpPr>
        <p:spPr>
          <a:xfrm>
            <a:off x="10504800" y="4188599"/>
            <a:ext cx="811746" cy="81174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Tijdelijke aanduiding voor tekst 28"/>
          <p:cNvSpPr>
            <a:spLocks noGrp="1"/>
          </p:cNvSpPr>
          <p:nvPr>
            <p:ph type="body" sz="quarter" idx="11" hasCustomPrompt="1"/>
          </p:nvPr>
        </p:nvSpPr>
        <p:spPr>
          <a:xfrm>
            <a:off x="1402397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strong points...</a:t>
            </a:r>
            <a:endParaRPr lang="en-US" dirty="0"/>
          </a:p>
        </p:txBody>
      </p:sp>
      <p:sp>
        <p:nvSpPr>
          <p:cNvPr id="30" name="Tijdelijke aanduiding voor tekst 28"/>
          <p:cNvSpPr>
            <a:spLocks noGrp="1"/>
          </p:cNvSpPr>
          <p:nvPr>
            <p:ph type="body" sz="quarter" idx="12" hasCustomPrompt="1"/>
          </p:nvPr>
        </p:nvSpPr>
        <p:spPr>
          <a:xfrm>
            <a:off x="1402397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opportunities...</a:t>
            </a:r>
            <a:endParaRPr lang="en-US" dirty="0"/>
          </a:p>
        </p:txBody>
      </p:sp>
      <p:sp>
        <p:nvSpPr>
          <p:cNvPr id="31" name="Tijdelijke aanduiding voor tekst 28"/>
          <p:cNvSpPr>
            <a:spLocks noGrp="1"/>
          </p:cNvSpPr>
          <p:nvPr>
            <p:ph type="body" sz="quarter" idx="13" hasCustomPrompt="1"/>
          </p:nvPr>
        </p:nvSpPr>
        <p:spPr>
          <a:xfrm>
            <a:off x="7696029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weaknesses…</a:t>
            </a:r>
            <a:endParaRPr lang="en-US" dirty="0"/>
          </a:p>
        </p:txBody>
      </p:sp>
      <p:sp>
        <p:nvSpPr>
          <p:cNvPr id="32" name="Tijdelijke aanduiding voor tekst 28"/>
          <p:cNvSpPr>
            <a:spLocks noGrp="1"/>
          </p:cNvSpPr>
          <p:nvPr>
            <p:ph type="body" sz="quarter" idx="14" hasCustomPrompt="1"/>
          </p:nvPr>
        </p:nvSpPr>
        <p:spPr>
          <a:xfrm>
            <a:off x="7696029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threats...</a:t>
            </a:r>
            <a:endParaRPr lang="en-US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33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3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68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3277318" y="893762"/>
            <a:ext cx="5718742" cy="4920622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019266" y="1796421"/>
            <a:ext cx="4185603" cy="26057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626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in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2194560" y="700723"/>
            <a:ext cx="7884258" cy="6783914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3215040" y="1948821"/>
            <a:ext cx="5779322" cy="35839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icoon</a:t>
            </a:r>
            <a:r>
              <a:rPr lang="en-US" dirty="0"/>
              <a:t> om </a:t>
            </a:r>
            <a:r>
              <a:rPr lang="en-US" dirty="0" err="1"/>
              <a:t>afbeelding</a:t>
            </a:r>
            <a:r>
              <a:rPr lang="en-US" dirty="0"/>
              <a:t> to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59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o am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1185332" y="2333305"/>
            <a:ext cx="2418934" cy="22151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to add image</a:t>
            </a:r>
            <a:endParaRPr lang="en-US" dirty="0"/>
          </a:p>
        </p:txBody>
      </p:sp>
      <p:cxnSp>
        <p:nvCxnSpPr>
          <p:cNvPr id="12" name="Straight Connector 38"/>
          <p:cNvCxnSpPr/>
          <p:nvPr userDrawn="1"/>
        </p:nvCxnSpPr>
        <p:spPr>
          <a:xfrm>
            <a:off x="389344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tekst 15"/>
          <p:cNvSpPr>
            <a:spLocks noGrp="1"/>
          </p:cNvSpPr>
          <p:nvPr>
            <p:ph type="body" sz="quarter" idx="12" hasCustomPrompt="1"/>
          </p:nvPr>
        </p:nvSpPr>
        <p:spPr>
          <a:xfrm>
            <a:off x="4135278" y="2333625"/>
            <a:ext cx="3576638" cy="409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35278" y="2916238"/>
            <a:ext cx="3576638" cy="1631950"/>
          </a:xfrm>
          <a:prstGeom prst="rect">
            <a:avLst/>
          </a:prstGeom>
        </p:spPr>
        <p:txBody>
          <a:bodyPr/>
          <a:lstStyle>
            <a:lvl1pPr marL="0" indent="0" algn="just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Tell something about yourself…</a:t>
            </a:r>
            <a:endParaRPr lang="en-US" dirty="0"/>
          </a:p>
        </p:txBody>
      </p:sp>
      <p:cxnSp>
        <p:nvCxnSpPr>
          <p:cNvPr id="19" name="Straight Connector 38"/>
          <p:cNvCxnSpPr/>
          <p:nvPr userDrawn="1"/>
        </p:nvCxnSpPr>
        <p:spPr>
          <a:xfrm>
            <a:off x="798792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223251" y="88584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47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media 3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2345844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44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hoek 10"/>
          <p:cNvSpPr/>
          <p:nvPr userDrawn="1"/>
        </p:nvSpPr>
        <p:spPr>
          <a:xfrm>
            <a:off x="11422302" y="0"/>
            <a:ext cx="487680" cy="487680"/>
          </a:xfrm>
          <a:prstGeom prst="rect">
            <a:avLst/>
          </a:prstGeom>
          <a:solidFill>
            <a:srgbClr val="3395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hthoek 11"/>
          <p:cNvSpPr/>
          <p:nvPr userDrawn="1"/>
        </p:nvSpPr>
        <p:spPr>
          <a:xfrm>
            <a:off x="8140701" y="0"/>
            <a:ext cx="3281602" cy="4876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77"/>
            <a:ext cx="12192000" cy="685847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12192000 w 12192000"/>
              <a:gd name="connsiteY2" fmla="*/ 7620 h 6865620"/>
              <a:gd name="connsiteX3" fmla="*/ 12192000 w 12192000"/>
              <a:gd name="connsiteY3" fmla="*/ 6865620 h 6865620"/>
              <a:gd name="connsiteX4" fmla="*/ 0 w 12192000"/>
              <a:gd name="connsiteY4" fmla="*/ 6865620 h 6865620"/>
              <a:gd name="connsiteX5" fmla="*/ 0 w 12192000"/>
              <a:gd name="connsiteY5" fmla="*/ 7620 h 6865620"/>
              <a:gd name="connsiteX0" fmla="*/ 0 w 12192000"/>
              <a:gd name="connsiteY0" fmla="*/ 15240 h 6873240"/>
              <a:gd name="connsiteX1" fmla="*/ 8846820 w 12192000"/>
              <a:gd name="connsiteY1" fmla="*/ 7620 h 6873240"/>
              <a:gd name="connsiteX2" fmla="*/ 10416540 w 12192000"/>
              <a:gd name="connsiteY2" fmla="*/ 0 h 6873240"/>
              <a:gd name="connsiteX3" fmla="*/ 12192000 w 12192000"/>
              <a:gd name="connsiteY3" fmla="*/ 15240 h 6873240"/>
              <a:gd name="connsiteX4" fmla="*/ 12192000 w 12192000"/>
              <a:gd name="connsiteY4" fmla="*/ 6873240 h 6873240"/>
              <a:gd name="connsiteX5" fmla="*/ 0 w 12192000"/>
              <a:gd name="connsiteY5" fmla="*/ 6873240 h 6873240"/>
              <a:gd name="connsiteX6" fmla="*/ 0 w 12192000"/>
              <a:gd name="connsiteY6" fmla="*/ 15240 h 687324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2192000 w 12192000"/>
              <a:gd name="connsiteY3" fmla="*/ 7620 h 6865620"/>
              <a:gd name="connsiteX4" fmla="*/ 12192000 w 12192000"/>
              <a:gd name="connsiteY4" fmla="*/ 6865620 h 6865620"/>
              <a:gd name="connsiteX5" fmla="*/ 0 w 12192000"/>
              <a:gd name="connsiteY5" fmla="*/ 6865620 h 6865620"/>
              <a:gd name="connsiteX6" fmla="*/ 0 w 12192000"/>
              <a:gd name="connsiteY6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0386060 w 12192000"/>
              <a:gd name="connsiteY3" fmla="*/ 26670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092940 w 12192000"/>
              <a:gd name="connsiteY4" fmla="*/ 16764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1768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146732 w 12192000"/>
              <a:gd name="connsiteY2" fmla="*/ 492918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6732 w 12192000"/>
              <a:gd name="connsiteY2" fmla="*/ 48577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8069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6545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902440 w 12192000"/>
              <a:gd name="connsiteY4" fmla="*/ 480537 h 6858477"/>
              <a:gd name="connsiteX5" fmla="*/ 11902440 w 12192000"/>
              <a:gd name="connsiteY5" fmla="*/ 477 h 6858477"/>
              <a:gd name="connsiteX6" fmla="*/ 12192000 w 12192000"/>
              <a:gd name="connsiteY6" fmla="*/ 477 h 6858477"/>
              <a:gd name="connsiteX7" fmla="*/ 12192000 w 12192000"/>
              <a:gd name="connsiteY7" fmla="*/ 6858477 h 6858477"/>
              <a:gd name="connsiteX8" fmla="*/ 0 w 12192000"/>
              <a:gd name="connsiteY8" fmla="*/ 6858477 h 6858477"/>
              <a:gd name="connsiteX9" fmla="*/ 0 w 12192000"/>
              <a:gd name="connsiteY9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2440 w 12192000"/>
              <a:gd name="connsiteY5" fmla="*/ 48053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4192 w 12192000"/>
              <a:gd name="connsiteY2" fmla="*/ 457835 h 6858477"/>
              <a:gd name="connsiteX3" fmla="*/ 8247380 w 12192000"/>
              <a:gd name="connsiteY3" fmla="*/ 477997 h 6858477"/>
              <a:gd name="connsiteX4" fmla="*/ 11875770 w 12192000"/>
              <a:gd name="connsiteY4" fmla="*/ 478632 h 6858477"/>
              <a:gd name="connsiteX5" fmla="*/ 11900535 w 12192000"/>
              <a:gd name="connsiteY5" fmla="*/ 446247 h 6858477"/>
              <a:gd name="connsiteX6" fmla="*/ 11902440 w 12192000"/>
              <a:gd name="connsiteY6" fmla="*/ 477 h 6858477"/>
              <a:gd name="connsiteX7" fmla="*/ 12192000 w 12192000"/>
              <a:gd name="connsiteY7" fmla="*/ 477 h 6858477"/>
              <a:gd name="connsiteX8" fmla="*/ 12192000 w 12192000"/>
              <a:gd name="connsiteY8" fmla="*/ 6858477 h 6858477"/>
              <a:gd name="connsiteX9" fmla="*/ 0 w 12192000"/>
              <a:gd name="connsiteY9" fmla="*/ 6858477 h 6858477"/>
              <a:gd name="connsiteX10" fmla="*/ 0 w 12192000"/>
              <a:gd name="connsiteY10" fmla="*/ 477 h 685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477">
                <a:moveTo>
                  <a:pt x="0" y="477"/>
                </a:moveTo>
                <a:lnTo>
                  <a:pt x="8144351" y="0"/>
                </a:lnTo>
                <a:cubicBezTo>
                  <a:pt x="8145145" y="161925"/>
                  <a:pt x="8143663" y="431853"/>
                  <a:pt x="8144192" y="457835"/>
                </a:cubicBezTo>
                <a:cubicBezTo>
                  <a:pt x="8144721" y="483817"/>
                  <a:pt x="8166470" y="474531"/>
                  <a:pt x="8247380" y="477997"/>
                </a:cubicBezTo>
                <a:lnTo>
                  <a:pt x="11875770" y="478632"/>
                </a:lnTo>
                <a:cubicBezTo>
                  <a:pt x="11884025" y="467837"/>
                  <a:pt x="11901805" y="489427"/>
                  <a:pt x="11900535" y="446247"/>
                </a:cubicBezTo>
                <a:lnTo>
                  <a:pt x="11902440" y="477"/>
                </a:lnTo>
                <a:lnTo>
                  <a:pt x="12192000" y="477"/>
                </a:lnTo>
                <a:lnTo>
                  <a:pt x="12192000" y="6858477"/>
                </a:lnTo>
                <a:lnTo>
                  <a:pt x="0" y="6858477"/>
                </a:lnTo>
                <a:lnTo>
                  <a:pt x="0" y="47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000" kern="120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0" name="Rechthoek 29"/>
          <p:cNvSpPr/>
          <p:nvPr userDrawn="1"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90703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3328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778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>
          <a:xfrm>
            <a:off x="609043" y="6356874"/>
            <a:ext cx="2844676" cy="363780"/>
          </a:xfrm>
          <a:prstGeom prst="rect">
            <a:avLst/>
          </a:prstGeom>
        </p:spPr>
        <p:txBody>
          <a:bodyPr lIns="106930" tIns="53465" rIns="106930" bIns="53465"/>
          <a:lstStyle>
            <a:lvl1pPr>
              <a:defRPr/>
            </a:lvl1pPr>
          </a:lstStyle>
          <a:p>
            <a:pPr>
              <a:defRPr/>
            </a:pPr>
            <a:fld id="{5450EBFB-FCC8-42DE-8313-BB59BEE66C0F}" type="datetimeFigureOut">
              <a:rPr lang="hu-HU">
                <a:solidFill>
                  <a:prstClr val="black"/>
                </a:solidFill>
              </a:rPr>
              <a:pPr>
                <a:defRPr/>
              </a:pPr>
              <a:t>2016.09.16.</a:t>
            </a:fld>
            <a:endParaRPr lang="hu-HU">
              <a:solidFill>
                <a:prstClr val="black"/>
              </a:solidFill>
            </a:endParaRPr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>
          <a:xfrm>
            <a:off x="4164889" y="6356874"/>
            <a:ext cx="3862224" cy="363780"/>
          </a:xfrm>
          <a:prstGeom prst="rect">
            <a:avLst/>
          </a:prstGeom>
        </p:spPr>
        <p:txBody>
          <a:bodyPr lIns="106930" tIns="53465" rIns="106930" bIns="53465"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/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>
          <a:xfrm>
            <a:off x="8738298" y="6356874"/>
            <a:ext cx="2844676" cy="363780"/>
          </a:xfrm>
          <a:prstGeom prst="rect">
            <a:avLst/>
          </a:prstGeom>
        </p:spPr>
        <p:txBody>
          <a:bodyPr lIns="106930" tIns="53465" rIns="106930" bIns="53465"/>
          <a:lstStyle>
            <a:lvl1pPr>
              <a:defRPr/>
            </a:lvl1pPr>
          </a:lstStyle>
          <a:p>
            <a:pPr>
              <a:defRPr/>
            </a:pPr>
            <a:fld id="{408C72FB-2583-451D-A7E0-662E05DA864A}" type="slidenum">
              <a:rPr lang="hu-H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3974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4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19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116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838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11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390049"/>
            <a:ext cx="3494215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cxnSp>
        <p:nvCxnSpPr>
          <p:cNvPr id="15" name="Straight Connector 59"/>
          <p:cNvCxnSpPr/>
          <p:nvPr userDrawn="1"/>
        </p:nvCxnSpPr>
        <p:spPr>
          <a:xfrm>
            <a:off x="6079237" y="1349409"/>
            <a:ext cx="27200" cy="4492591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7" y="2203787"/>
            <a:ext cx="3494678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780586"/>
            <a:ext cx="3494215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7" y="3594324"/>
            <a:ext cx="3494678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171123"/>
            <a:ext cx="3494215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7" y="4984861"/>
            <a:ext cx="3494678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9" name="Tijdelijke aanduiding voor tekst 35"/>
          <p:cNvSpPr>
            <a:spLocks noGrp="1"/>
          </p:cNvSpPr>
          <p:nvPr>
            <p:ph type="body" sz="quarter" idx="44" hasCustomPrompt="1"/>
          </p:nvPr>
        </p:nvSpPr>
        <p:spPr>
          <a:xfrm>
            <a:off x="6994489" y="1390049"/>
            <a:ext cx="372431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0" name="Tijdelijke aanduiding voor tekst 37"/>
          <p:cNvSpPr>
            <a:spLocks noGrp="1"/>
          </p:cNvSpPr>
          <p:nvPr>
            <p:ph type="body" sz="quarter" idx="45" hasCustomPrompt="1"/>
          </p:nvPr>
        </p:nvSpPr>
        <p:spPr>
          <a:xfrm>
            <a:off x="6994489" y="2203787"/>
            <a:ext cx="3724804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1" name="Tijdelijke aanduiding voor tekst 71"/>
          <p:cNvSpPr>
            <a:spLocks noGrp="1"/>
          </p:cNvSpPr>
          <p:nvPr>
            <p:ph type="body" sz="quarter" idx="46" hasCustomPrompt="1"/>
          </p:nvPr>
        </p:nvSpPr>
        <p:spPr>
          <a:xfrm>
            <a:off x="6261555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82" name="Tijdelijke aanduiding voor tekst 35"/>
          <p:cNvSpPr>
            <a:spLocks noGrp="1"/>
          </p:cNvSpPr>
          <p:nvPr>
            <p:ph type="body" sz="quarter" idx="47" hasCustomPrompt="1"/>
          </p:nvPr>
        </p:nvSpPr>
        <p:spPr>
          <a:xfrm>
            <a:off x="6994489" y="2780586"/>
            <a:ext cx="372431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3" name="Tijdelijke aanduiding voor tekst 37"/>
          <p:cNvSpPr>
            <a:spLocks noGrp="1"/>
          </p:cNvSpPr>
          <p:nvPr>
            <p:ph type="body" sz="quarter" idx="48" hasCustomPrompt="1"/>
          </p:nvPr>
        </p:nvSpPr>
        <p:spPr>
          <a:xfrm>
            <a:off x="6994489" y="3594324"/>
            <a:ext cx="3724804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4" name="Tijdelijke aanduiding voor tekst 71"/>
          <p:cNvSpPr>
            <a:spLocks noGrp="1"/>
          </p:cNvSpPr>
          <p:nvPr>
            <p:ph type="body" sz="quarter" idx="49" hasCustomPrompt="1"/>
          </p:nvPr>
        </p:nvSpPr>
        <p:spPr>
          <a:xfrm>
            <a:off x="6261555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85" name="Tijdelijke aanduiding voor tekst 35"/>
          <p:cNvSpPr>
            <a:spLocks noGrp="1"/>
          </p:cNvSpPr>
          <p:nvPr>
            <p:ph type="body" sz="quarter" idx="50" hasCustomPrompt="1"/>
          </p:nvPr>
        </p:nvSpPr>
        <p:spPr>
          <a:xfrm>
            <a:off x="6994489" y="4171123"/>
            <a:ext cx="3724311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86" name="Tijdelijke aanduiding voor tekst 37"/>
          <p:cNvSpPr>
            <a:spLocks noGrp="1"/>
          </p:cNvSpPr>
          <p:nvPr>
            <p:ph type="body" sz="quarter" idx="51" hasCustomPrompt="1"/>
          </p:nvPr>
        </p:nvSpPr>
        <p:spPr>
          <a:xfrm>
            <a:off x="6994489" y="4984861"/>
            <a:ext cx="3724804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87" name="Tijdelijke aanduiding voor tekst 71"/>
          <p:cNvSpPr>
            <a:spLocks noGrp="1"/>
          </p:cNvSpPr>
          <p:nvPr>
            <p:ph type="body" sz="quarter" idx="52" hasCustomPrompt="1"/>
          </p:nvPr>
        </p:nvSpPr>
        <p:spPr>
          <a:xfrm>
            <a:off x="6261555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53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429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11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03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0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139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1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54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 userDrawn="1"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9839" y="2395538"/>
            <a:ext cx="4831081" cy="297656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11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09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771366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91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pic>
        <p:nvPicPr>
          <p:cNvPr id="15" name="Picture 27" descr="ipa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0121" y="2291025"/>
            <a:ext cx="4915097" cy="3567164"/>
          </a:xfrm>
          <a:prstGeom prst="rect">
            <a:avLst/>
          </a:prstGeom>
        </p:spPr>
      </p:pic>
      <p:sp>
        <p:nvSpPr>
          <p:cNvPr id="16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481943"/>
            <a:ext cx="4084319" cy="309494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ck on the icon to insert image</a:t>
            </a:r>
            <a:endParaRPr lang="en-US" dirty="0"/>
          </a:p>
        </p:txBody>
      </p:sp>
      <p:sp>
        <p:nvSpPr>
          <p:cNvPr id="17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8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44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0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323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8826183" y="6193473"/>
            <a:ext cx="1582737" cy="38258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Insert image of external logo</a:t>
            </a:r>
            <a:endParaRPr lang="nl-NL" dirty="0"/>
          </a:p>
          <a:p>
            <a:endParaRPr lang="nl-NL" dirty="0"/>
          </a:p>
        </p:txBody>
      </p:sp>
      <p:sp>
        <p:nvSpPr>
          <p:cNvPr id="5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314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5994400" y="1773238"/>
            <a:ext cx="5405438" cy="40941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effectLst/>
              <a:latin typeface="Arial Hebrew" charset="-79"/>
              <a:ea typeface="Arial Hebrew" charset="-79"/>
              <a:cs typeface="Arial Hebrew" charset="-79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197600" y="1930400"/>
            <a:ext cx="5038725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4988" indent="-263525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8" name="Rechthoek 7"/>
          <p:cNvSpPr/>
          <p:nvPr userDrawn="1"/>
        </p:nvSpPr>
        <p:spPr>
          <a:xfrm>
            <a:off x="447357" y="1773238"/>
            <a:ext cx="5547043" cy="4094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14"/>
          </p:nvPr>
        </p:nvSpPr>
        <p:spPr>
          <a:xfrm>
            <a:off x="660164" y="1930400"/>
            <a:ext cx="5170723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Calibri" panose="020F0502020204030204" pitchFamily="34" charset="0"/>
              <a:buChar char="-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898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/>
          <p:cNvGrpSpPr/>
          <p:nvPr userDrawn="1"/>
        </p:nvGrpSpPr>
        <p:grpSpPr>
          <a:xfrm>
            <a:off x="4201965" y="2080060"/>
            <a:ext cx="3443264" cy="3431160"/>
            <a:chOff x="8555490" y="4136840"/>
            <a:chExt cx="7232667" cy="7207240"/>
          </a:xfrm>
        </p:grpSpPr>
        <p:sp>
          <p:nvSpPr>
            <p:cNvPr id="5" name="Pie 45"/>
            <p:cNvSpPr/>
            <p:nvPr userDrawn="1"/>
          </p:nvSpPr>
          <p:spPr>
            <a:xfrm>
              <a:off x="8555491" y="4159929"/>
              <a:ext cx="3539375" cy="3538914"/>
            </a:xfrm>
            <a:prstGeom prst="pieWedg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Pie 4"/>
            <p:cNvSpPr/>
            <p:nvPr userDrawn="1"/>
          </p:nvSpPr>
          <p:spPr>
            <a:xfrm>
              <a:off x="9507484" y="494245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800" b="1" dirty="0">
                  <a:solidFill>
                    <a:schemeClr val="bg1"/>
                  </a:solidFill>
                  <a:latin typeface="Arial Hebrew" charset="-79"/>
                  <a:ea typeface="Arial Hebrew" charset="-79"/>
                  <a:cs typeface="Arial Hebrew" charset="-79"/>
                </a:rPr>
                <a:t>S</a:t>
              </a:r>
            </a:p>
          </p:txBody>
        </p:sp>
        <p:sp>
          <p:nvSpPr>
            <p:cNvPr id="8" name="Pie 48"/>
            <p:cNvSpPr/>
            <p:nvPr userDrawn="1"/>
          </p:nvSpPr>
          <p:spPr>
            <a:xfrm rot="5400000">
              <a:off x="12249012" y="4136609"/>
              <a:ext cx="3538914" cy="3539375"/>
            </a:xfrm>
            <a:prstGeom prst="pieWedg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Pie 51"/>
            <p:cNvSpPr/>
            <p:nvPr userDrawn="1"/>
          </p:nvSpPr>
          <p:spPr>
            <a:xfrm rot="16200000">
              <a:off x="8555721" y="7804935"/>
              <a:ext cx="3538914" cy="3539375"/>
            </a:xfrm>
            <a:prstGeom prst="pieWedg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Pie 54"/>
            <p:cNvSpPr/>
            <p:nvPr userDrawn="1"/>
          </p:nvSpPr>
          <p:spPr>
            <a:xfrm rot="10800000">
              <a:off x="12248782" y="7791653"/>
              <a:ext cx="3539375" cy="3538914"/>
            </a:xfrm>
            <a:prstGeom prst="pieWedg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Circular Arrow 56"/>
            <p:cNvSpPr/>
            <p:nvPr userDrawn="1"/>
          </p:nvSpPr>
          <p:spPr>
            <a:xfrm>
              <a:off x="11553132" y="699791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Circular Arrow 57"/>
            <p:cNvSpPr/>
            <p:nvPr userDrawn="1"/>
          </p:nvSpPr>
          <p:spPr>
            <a:xfrm rot="10800000">
              <a:off x="11553132" y="740656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Pie 4"/>
            <p:cNvSpPr/>
            <p:nvPr userDrawn="1"/>
          </p:nvSpPr>
          <p:spPr>
            <a:xfrm>
              <a:off x="9479262" y="806920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100" b="1" dirty="0">
                  <a:solidFill>
                    <a:schemeClr val="bg1"/>
                  </a:solidFill>
                  <a:latin typeface="Arial Hebrew" charset="-79"/>
                  <a:ea typeface="Arial Hebrew" charset="-79"/>
                  <a:cs typeface="Arial Hebrew" charset="-79"/>
                </a:rPr>
                <a:t>O</a:t>
              </a:r>
            </a:p>
          </p:txBody>
        </p:sp>
        <p:sp>
          <p:nvSpPr>
            <p:cNvPr id="14" name="Pie 4"/>
            <p:cNvSpPr/>
            <p:nvPr userDrawn="1"/>
          </p:nvSpPr>
          <p:spPr>
            <a:xfrm>
              <a:off x="12357886" y="4949276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chemeClr val="bg1"/>
                  </a:solidFill>
                  <a:latin typeface="Arial Hebrew" charset="-79"/>
                  <a:ea typeface="Arial Hebrew" charset="-79"/>
                  <a:cs typeface="Arial Hebrew" charset="-79"/>
                </a:rPr>
                <a:t>W</a:t>
              </a:r>
            </a:p>
          </p:txBody>
        </p:sp>
        <p:sp>
          <p:nvSpPr>
            <p:cNvPr id="15" name="Pie 4"/>
            <p:cNvSpPr/>
            <p:nvPr userDrawn="1"/>
          </p:nvSpPr>
          <p:spPr>
            <a:xfrm>
              <a:off x="12428531" y="8173292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chemeClr val="bg1"/>
                  </a:solidFill>
                  <a:latin typeface="Arial Hebrew" charset="-79"/>
                  <a:ea typeface="Arial Hebrew" charset="-79"/>
                  <a:cs typeface="Arial Hebrew" charset="-79"/>
                </a:rPr>
                <a:t>T</a:t>
              </a:r>
            </a:p>
          </p:txBody>
        </p:sp>
      </p:grpSp>
      <p:sp>
        <p:nvSpPr>
          <p:cNvPr id="16" name="Ovaal 15"/>
          <p:cNvSpPr/>
          <p:nvPr userDrawn="1"/>
        </p:nvSpPr>
        <p:spPr>
          <a:xfrm>
            <a:off x="579438" y="1789214"/>
            <a:ext cx="811746" cy="8117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64"/>
          <p:cNvSpPr txBox="1"/>
          <p:nvPr userDrawn="1"/>
        </p:nvSpPr>
        <p:spPr>
          <a:xfrm>
            <a:off x="1401344" y="1783398"/>
            <a:ext cx="2929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TRENGHTS</a:t>
            </a:r>
          </a:p>
          <a:p>
            <a:r>
              <a:rPr lang="en-US" sz="1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RKE PUNTEN</a:t>
            </a:r>
          </a:p>
        </p:txBody>
      </p:sp>
      <p:sp>
        <p:nvSpPr>
          <p:cNvPr id="21" name="TextBox 65"/>
          <p:cNvSpPr txBox="1"/>
          <p:nvPr userDrawn="1"/>
        </p:nvSpPr>
        <p:spPr>
          <a:xfrm>
            <a:off x="1404075" y="4217776"/>
            <a:ext cx="264893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PPORTUNITIES</a:t>
            </a:r>
          </a:p>
          <a:p>
            <a:r>
              <a:rPr lang="en-US" sz="1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SEN</a:t>
            </a:r>
          </a:p>
        </p:txBody>
      </p:sp>
      <p:sp>
        <p:nvSpPr>
          <p:cNvPr id="22" name="TextBox 66"/>
          <p:cNvSpPr txBox="1"/>
          <p:nvPr userDrawn="1"/>
        </p:nvSpPr>
        <p:spPr>
          <a:xfrm>
            <a:off x="8011647" y="1783398"/>
            <a:ext cx="240811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WEAKNESS</a:t>
            </a:r>
          </a:p>
          <a:p>
            <a:pPr algn="r"/>
            <a:r>
              <a:rPr lang="en-US" sz="1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WAKTES</a:t>
            </a:r>
          </a:p>
        </p:txBody>
      </p:sp>
      <p:sp>
        <p:nvSpPr>
          <p:cNvPr id="23" name="TextBox 67"/>
          <p:cNvSpPr txBox="1"/>
          <p:nvPr userDrawn="1"/>
        </p:nvSpPr>
        <p:spPr>
          <a:xfrm>
            <a:off x="7730803" y="4217776"/>
            <a:ext cx="268896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Threats</a:t>
            </a:r>
          </a:p>
          <a:p>
            <a:pPr algn="r"/>
            <a:r>
              <a:rPr lang="en-US" sz="1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DREIGINGEN</a:t>
            </a:r>
          </a:p>
        </p:txBody>
      </p:sp>
      <p:sp>
        <p:nvSpPr>
          <p:cNvPr id="25" name="Ovaal 24"/>
          <p:cNvSpPr/>
          <p:nvPr userDrawn="1"/>
        </p:nvSpPr>
        <p:spPr>
          <a:xfrm>
            <a:off x="579438" y="4188599"/>
            <a:ext cx="811746" cy="81174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al 25"/>
          <p:cNvSpPr/>
          <p:nvPr userDrawn="1"/>
        </p:nvSpPr>
        <p:spPr>
          <a:xfrm>
            <a:off x="10504800" y="1789214"/>
            <a:ext cx="811746" cy="81174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al 26"/>
          <p:cNvSpPr/>
          <p:nvPr userDrawn="1"/>
        </p:nvSpPr>
        <p:spPr>
          <a:xfrm>
            <a:off x="10504800" y="4188599"/>
            <a:ext cx="811746" cy="81174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ijdelijke aanduiding voor tekst 28"/>
          <p:cNvSpPr>
            <a:spLocks noGrp="1"/>
          </p:cNvSpPr>
          <p:nvPr>
            <p:ph type="body" sz="quarter" idx="11" hasCustomPrompt="1"/>
          </p:nvPr>
        </p:nvSpPr>
        <p:spPr>
          <a:xfrm>
            <a:off x="1402397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strong points...</a:t>
            </a:r>
            <a:endParaRPr lang="en-US" dirty="0"/>
          </a:p>
        </p:txBody>
      </p:sp>
      <p:sp>
        <p:nvSpPr>
          <p:cNvPr id="30" name="Tijdelijke aanduiding voor tekst 28"/>
          <p:cNvSpPr>
            <a:spLocks noGrp="1"/>
          </p:cNvSpPr>
          <p:nvPr>
            <p:ph type="body" sz="quarter" idx="12" hasCustomPrompt="1"/>
          </p:nvPr>
        </p:nvSpPr>
        <p:spPr>
          <a:xfrm>
            <a:off x="1402397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opportunities...</a:t>
            </a:r>
            <a:endParaRPr lang="en-US" dirty="0"/>
          </a:p>
        </p:txBody>
      </p:sp>
      <p:sp>
        <p:nvSpPr>
          <p:cNvPr id="31" name="Tijdelijke aanduiding voor tekst 28"/>
          <p:cNvSpPr>
            <a:spLocks noGrp="1"/>
          </p:cNvSpPr>
          <p:nvPr>
            <p:ph type="body" sz="quarter" idx="13" hasCustomPrompt="1"/>
          </p:nvPr>
        </p:nvSpPr>
        <p:spPr>
          <a:xfrm>
            <a:off x="7696029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weaknesses…</a:t>
            </a:r>
            <a:endParaRPr lang="en-US" dirty="0"/>
          </a:p>
        </p:txBody>
      </p:sp>
      <p:sp>
        <p:nvSpPr>
          <p:cNvPr id="32" name="Tijdelijke aanduiding voor tekst 28"/>
          <p:cNvSpPr>
            <a:spLocks noGrp="1"/>
          </p:cNvSpPr>
          <p:nvPr>
            <p:ph type="body" sz="quarter" idx="14" hasCustomPrompt="1"/>
          </p:nvPr>
        </p:nvSpPr>
        <p:spPr>
          <a:xfrm>
            <a:off x="7696029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threats...</a:t>
            </a:r>
            <a:endParaRPr lang="en-US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33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3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01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jdelijke aanduiding voor tekst 35"/>
          <p:cNvSpPr>
            <a:spLocks noGrp="1"/>
          </p:cNvSpPr>
          <p:nvPr>
            <p:ph type="body" sz="quarter" idx="11" hasCustomPrompt="1"/>
          </p:nvPr>
        </p:nvSpPr>
        <p:spPr>
          <a:xfrm>
            <a:off x="2489026" y="1390049"/>
            <a:ext cx="6364794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38" name="Tijdelijke aanduiding voor tekst 37"/>
          <p:cNvSpPr>
            <a:spLocks noGrp="1"/>
          </p:cNvSpPr>
          <p:nvPr>
            <p:ph type="body" sz="quarter" idx="12" hasCustomPrompt="1"/>
          </p:nvPr>
        </p:nvSpPr>
        <p:spPr>
          <a:xfrm>
            <a:off x="2488926" y="2203787"/>
            <a:ext cx="6365637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2" name="Tijdelijke aanduiding voor tekst 71"/>
          <p:cNvSpPr>
            <a:spLocks noGrp="1"/>
          </p:cNvSpPr>
          <p:nvPr>
            <p:ph type="body" sz="quarter" idx="37" hasCustomPrompt="1"/>
          </p:nvPr>
        </p:nvSpPr>
        <p:spPr>
          <a:xfrm>
            <a:off x="1731788" y="1369729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3" name="Tijdelijke aanduiding voor tekst 35"/>
          <p:cNvSpPr>
            <a:spLocks noGrp="1"/>
          </p:cNvSpPr>
          <p:nvPr>
            <p:ph type="body" sz="quarter" idx="38" hasCustomPrompt="1"/>
          </p:nvPr>
        </p:nvSpPr>
        <p:spPr>
          <a:xfrm>
            <a:off x="2489026" y="2780586"/>
            <a:ext cx="6364794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4" name="Tijdelijke aanduiding voor tekst 37"/>
          <p:cNvSpPr>
            <a:spLocks noGrp="1"/>
          </p:cNvSpPr>
          <p:nvPr>
            <p:ph type="body" sz="quarter" idx="39" hasCustomPrompt="1"/>
          </p:nvPr>
        </p:nvSpPr>
        <p:spPr>
          <a:xfrm>
            <a:off x="2488926" y="3594324"/>
            <a:ext cx="6365637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5" name="Tijdelijke aanduiding voor tekst 71"/>
          <p:cNvSpPr>
            <a:spLocks noGrp="1"/>
          </p:cNvSpPr>
          <p:nvPr>
            <p:ph type="body" sz="quarter" idx="40" hasCustomPrompt="1"/>
          </p:nvPr>
        </p:nvSpPr>
        <p:spPr>
          <a:xfrm>
            <a:off x="1731788" y="2760266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76" name="Tijdelijke aanduiding voor tekst 35"/>
          <p:cNvSpPr>
            <a:spLocks noGrp="1"/>
          </p:cNvSpPr>
          <p:nvPr>
            <p:ph type="body" sz="quarter" idx="41" hasCustomPrompt="1"/>
          </p:nvPr>
        </p:nvSpPr>
        <p:spPr>
          <a:xfrm>
            <a:off x="2489026" y="4171123"/>
            <a:ext cx="6364794" cy="8137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Agenda topic</a:t>
            </a:r>
          </a:p>
        </p:txBody>
      </p:sp>
      <p:sp>
        <p:nvSpPr>
          <p:cNvPr id="77" name="Tijdelijke aanduiding voor tekst 37"/>
          <p:cNvSpPr>
            <a:spLocks noGrp="1"/>
          </p:cNvSpPr>
          <p:nvPr>
            <p:ph type="body" sz="quarter" idx="42" hasCustomPrompt="1"/>
          </p:nvPr>
        </p:nvSpPr>
        <p:spPr>
          <a:xfrm>
            <a:off x="2488926" y="4984861"/>
            <a:ext cx="6365637" cy="3806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nl-NL" dirty="0"/>
              <a:t>Extra text</a:t>
            </a:r>
            <a:endParaRPr lang="en-US" dirty="0"/>
          </a:p>
        </p:txBody>
      </p:sp>
      <p:sp>
        <p:nvSpPr>
          <p:cNvPr id="78" name="Tijdelijke aanduiding voor tekst 71"/>
          <p:cNvSpPr>
            <a:spLocks noGrp="1"/>
          </p:cNvSpPr>
          <p:nvPr>
            <p:ph type="body" sz="quarter" idx="43" hasCustomPrompt="1"/>
          </p:nvPr>
        </p:nvSpPr>
        <p:spPr>
          <a:xfrm>
            <a:off x="1731788" y="4150803"/>
            <a:ext cx="757238" cy="757237"/>
          </a:xfrm>
          <a:prstGeom prst="rect">
            <a:avLst/>
          </a:prstGeom>
        </p:spPr>
        <p:txBody>
          <a:bodyPr tIns="0"/>
          <a:lstStyle>
            <a:lvl1pPr marL="0" indent="0"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nr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9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3277318" y="893762"/>
            <a:ext cx="5718742" cy="4920622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019266" y="1796421"/>
            <a:ext cx="4185603" cy="26057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505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in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2194560" y="700723"/>
            <a:ext cx="7884258" cy="6783914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3215040" y="1948821"/>
            <a:ext cx="5779322" cy="35839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icoon</a:t>
            </a:r>
            <a:r>
              <a:rPr lang="en-US" dirty="0"/>
              <a:t> om </a:t>
            </a:r>
            <a:r>
              <a:rPr lang="en-US" dirty="0" err="1"/>
              <a:t>afbeelding</a:t>
            </a:r>
            <a:r>
              <a:rPr lang="en-US" dirty="0"/>
              <a:t> to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06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o am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1185332" y="2333305"/>
            <a:ext cx="2418934" cy="22151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to add image</a:t>
            </a:r>
            <a:endParaRPr lang="en-US" dirty="0"/>
          </a:p>
        </p:txBody>
      </p:sp>
      <p:cxnSp>
        <p:nvCxnSpPr>
          <p:cNvPr id="12" name="Straight Connector 38"/>
          <p:cNvCxnSpPr/>
          <p:nvPr userDrawn="1"/>
        </p:nvCxnSpPr>
        <p:spPr>
          <a:xfrm>
            <a:off x="389344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tekst 15"/>
          <p:cNvSpPr>
            <a:spLocks noGrp="1"/>
          </p:cNvSpPr>
          <p:nvPr>
            <p:ph type="body" sz="quarter" idx="12" hasCustomPrompt="1"/>
          </p:nvPr>
        </p:nvSpPr>
        <p:spPr>
          <a:xfrm>
            <a:off x="4135278" y="2333625"/>
            <a:ext cx="3576638" cy="409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35278" y="2916238"/>
            <a:ext cx="3576638" cy="1631950"/>
          </a:xfrm>
          <a:prstGeom prst="rect">
            <a:avLst/>
          </a:prstGeom>
        </p:spPr>
        <p:txBody>
          <a:bodyPr/>
          <a:lstStyle>
            <a:lvl1pPr marL="0" indent="0" algn="just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Tell something about yourself…</a:t>
            </a:r>
            <a:endParaRPr lang="en-US" dirty="0"/>
          </a:p>
        </p:txBody>
      </p:sp>
      <p:cxnSp>
        <p:nvCxnSpPr>
          <p:cNvPr id="19" name="Straight Connector 38"/>
          <p:cNvCxnSpPr/>
          <p:nvPr userDrawn="1"/>
        </p:nvCxnSpPr>
        <p:spPr>
          <a:xfrm>
            <a:off x="798792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223251" y="88584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96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media 3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3454362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94851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440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33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2949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9356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tx2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59067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080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08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864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496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 userDrawn="1"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92" r="4792"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0314" y="2382838"/>
            <a:ext cx="4839336" cy="29924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035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nl-NL" dirty="0" smtClean="0"/>
              <a:t>Edit header </a:t>
            </a:r>
            <a:r>
              <a:rPr lang="nl-NL" dirty="0" err="1" smtClean="0"/>
              <a:t>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097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pa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0660" y="2357438"/>
            <a:ext cx="4921736" cy="3484562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552700"/>
            <a:ext cx="4084319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322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949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96277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707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916183" y="952451"/>
            <a:ext cx="10515600" cy="5387531"/>
          </a:xfrm>
          <a:prstGeom prst="rect">
            <a:avLst/>
          </a:prstGeom>
        </p:spPr>
        <p:txBody>
          <a:bodyPr lIns="109721" tIns="54860" rIns="109721" bIns="54860"/>
          <a:lstStyle>
            <a:lvl1pPr marL="420978" indent="-420978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20000"/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822906" indent="-401930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50000"/>
              <a:buFont typeface="LucidaGrande" charset="0"/>
              <a:buChar char="-"/>
              <a:defRPr sz="19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88642" indent="-293351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00000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3"/>
              </a:buClr>
              <a:buSzPct val="150000"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3"/>
              </a:buClr>
              <a:buSzPct val="150000"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 Second level</a:t>
            </a:r>
          </a:p>
          <a:p>
            <a:pPr lvl="2"/>
            <a:r>
              <a:rPr lang="nl-NL" dirty="0" err="1" smtClean="0"/>
              <a:t>Third</a:t>
            </a:r>
            <a:r>
              <a:rPr lang="nl-NL" dirty="0" smtClean="0"/>
              <a:t> level</a:t>
            </a:r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0" hasCustomPrompt="1"/>
          </p:nvPr>
        </p:nvSpPr>
        <p:spPr>
          <a:xfrm>
            <a:off x="911363" y="-262358"/>
            <a:ext cx="10515600" cy="992223"/>
          </a:xfrm>
          <a:prstGeom prst="rect">
            <a:avLst/>
          </a:prstGeom>
        </p:spPr>
        <p:txBody>
          <a:bodyPr lIns="109721" tIns="54860" rIns="109721" bIns="54860" anchor="b" anchorCtr="0"/>
          <a:lstStyle>
            <a:lvl1pPr marL="0" indent="0">
              <a:buNone/>
              <a:defRPr sz="2900" b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4" name="Rechthoek 10"/>
          <p:cNvSpPr/>
          <p:nvPr userDrawn="1"/>
        </p:nvSpPr>
        <p:spPr>
          <a:xfrm>
            <a:off x="117871" y="6386933"/>
            <a:ext cx="409137" cy="295457"/>
          </a:xfrm>
          <a:prstGeom prst="rect">
            <a:avLst/>
          </a:prstGeom>
        </p:spPr>
        <p:txBody>
          <a:bodyPr wrap="none" lIns="109721" tIns="54860" rIns="109721" bIns="54860">
            <a:spAutoFit/>
          </a:bodyPr>
          <a:lstStyle/>
          <a:p>
            <a:pPr algn="ctr" defTabSz="1097208">
              <a:defRPr/>
            </a:pPr>
            <a:fld id="{478F02DA-AB65-4DE3-8C32-C1DFFF12922F}" type="slidenum">
              <a:rPr lang="nl-NL" sz="1200" b="1">
                <a:solidFill>
                  <a:srgbClr val="FFFFFF"/>
                </a:solidFill>
                <a:cs typeface="Arial" panose="020B0604020202020204" pitchFamily="34" charset="0"/>
              </a:rPr>
              <a:pPr algn="ctr" defTabSz="1097208">
                <a:defRPr/>
              </a:pPr>
              <a:t>‹#›</a:t>
            </a:fld>
            <a:endParaRPr lang="nl-NL" sz="12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65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9" userDrawn="1">
          <p15:clr>
            <a:srgbClr val="FBAE40"/>
          </p15:clr>
        </p15:guide>
        <p15:guide id="2" pos="546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hoek 10"/>
          <p:cNvSpPr/>
          <p:nvPr userDrawn="1"/>
        </p:nvSpPr>
        <p:spPr>
          <a:xfrm>
            <a:off x="11422302" y="0"/>
            <a:ext cx="487680" cy="487680"/>
          </a:xfrm>
          <a:prstGeom prst="rect">
            <a:avLst/>
          </a:prstGeom>
          <a:solidFill>
            <a:srgbClr val="3395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hthoek 11"/>
          <p:cNvSpPr/>
          <p:nvPr userDrawn="1"/>
        </p:nvSpPr>
        <p:spPr>
          <a:xfrm>
            <a:off x="8140701" y="0"/>
            <a:ext cx="3281602" cy="48768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77"/>
            <a:ext cx="12192000" cy="685847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12192000 w 12192000"/>
              <a:gd name="connsiteY2" fmla="*/ 7620 h 6865620"/>
              <a:gd name="connsiteX3" fmla="*/ 12192000 w 12192000"/>
              <a:gd name="connsiteY3" fmla="*/ 6865620 h 6865620"/>
              <a:gd name="connsiteX4" fmla="*/ 0 w 12192000"/>
              <a:gd name="connsiteY4" fmla="*/ 6865620 h 6865620"/>
              <a:gd name="connsiteX5" fmla="*/ 0 w 12192000"/>
              <a:gd name="connsiteY5" fmla="*/ 7620 h 6865620"/>
              <a:gd name="connsiteX0" fmla="*/ 0 w 12192000"/>
              <a:gd name="connsiteY0" fmla="*/ 15240 h 6873240"/>
              <a:gd name="connsiteX1" fmla="*/ 8846820 w 12192000"/>
              <a:gd name="connsiteY1" fmla="*/ 7620 h 6873240"/>
              <a:gd name="connsiteX2" fmla="*/ 10416540 w 12192000"/>
              <a:gd name="connsiteY2" fmla="*/ 0 h 6873240"/>
              <a:gd name="connsiteX3" fmla="*/ 12192000 w 12192000"/>
              <a:gd name="connsiteY3" fmla="*/ 15240 h 6873240"/>
              <a:gd name="connsiteX4" fmla="*/ 12192000 w 12192000"/>
              <a:gd name="connsiteY4" fmla="*/ 6873240 h 6873240"/>
              <a:gd name="connsiteX5" fmla="*/ 0 w 12192000"/>
              <a:gd name="connsiteY5" fmla="*/ 6873240 h 6873240"/>
              <a:gd name="connsiteX6" fmla="*/ 0 w 12192000"/>
              <a:gd name="connsiteY6" fmla="*/ 15240 h 687324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2192000 w 12192000"/>
              <a:gd name="connsiteY3" fmla="*/ 7620 h 6865620"/>
              <a:gd name="connsiteX4" fmla="*/ 12192000 w 12192000"/>
              <a:gd name="connsiteY4" fmla="*/ 6865620 h 6865620"/>
              <a:gd name="connsiteX5" fmla="*/ 0 w 12192000"/>
              <a:gd name="connsiteY5" fmla="*/ 6865620 h 6865620"/>
              <a:gd name="connsiteX6" fmla="*/ 0 w 12192000"/>
              <a:gd name="connsiteY6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0386060 w 12192000"/>
              <a:gd name="connsiteY3" fmla="*/ 26670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092940 w 12192000"/>
              <a:gd name="connsiteY4" fmla="*/ 16764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1768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146732 w 12192000"/>
              <a:gd name="connsiteY2" fmla="*/ 492918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6732 w 12192000"/>
              <a:gd name="connsiteY2" fmla="*/ 48577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477">
                <a:moveTo>
                  <a:pt x="0" y="477"/>
                </a:moveTo>
                <a:lnTo>
                  <a:pt x="8144351" y="0"/>
                </a:lnTo>
                <a:cubicBezTo>
                  <a:pt x="8145145" y="161925"/>
                  <a:pt x="8145938" y="323850"/>
                  <a:pt x="8146732" y="485775"/>
                </a:cubicBezTo>
                <a:lnTo>
                  <a:pt x="11902440" y="480537"/>
                </a:lnTo>
                <a:lnTo>
                  <a:pt x="11902440" y="477"/>
                </a:lnTo>
                <a:lnTo>
                  <a:pt x="12192000" y="477"/>
                </a:lnTo>
                <a:lnTo>
                  <a:pt x="12192000" y="6858477"/>
                </a:lnTo>
                <a:lnTo>
                  <a:pt x="0" y="6858477"/>
                </a:lnTo>
                <a:lnTo>
                  <a:pt x="0" y="477"/>
                </a:lnTo>
                <a:close/>
              </a:path>
            </a:pathLst>
          </a:cu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0" name="Rechthoek 29"/>
          <p:cNvSpPr/>
          <p:nvPr userDrawn="1"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562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332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44915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61460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33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2949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39145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1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tx2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268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080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39972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6284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6225988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 smtClean="0"/>
              <a:t>Click icon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imag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66962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5828982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  <p:sp>
        <p:nvSpPr>
          <p:cNvPr id="8" name="Tijdelijke aanduiding voor afbeelding 7"/>
          <p:cNvSpPr>
            <a:spLocks noGrp="1"/>
          </p:cNvSpPr>
          <p:nvPr>
            <p:ph type="pic" sz="quarter" idx="16" hasCustomPrompt="1"/>
          </p:nvPr>
        </p:nvSpPr>
        <p:spPr>
          <a:xfrm>
            <a:off x="447357" y="1773238"/>
            <a:ext cx="5173850" cy="4068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NL" dirty="0" smtClean="0"/>
              <a:t>Click icon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imag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57976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0314" y="2382838"/>
            <a:ext cx="4839336" cy="29924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2041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8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0071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pad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0660" y="2357438"/>
            <a:ext cx="4921736" cy="3484562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552700"/>
            <a:ext cx="4084319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9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58988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0843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96277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4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i="1"/>
            </a:lvl1pPr>
          </a:lstStyle>
          <a:p>
            <a:pPr lvl="0"/>
            <a:r>
              <a:rPr lang="nl-NL" dirty="0" err="1" smtClean="0"/>
              <a:t>Edit</a:t>
            </a:r>
            <a:r>
              <a:rPr lang="nl-NL" dirty="0" smtClean="0"/>
              <a:t> </a:t>
            </a:r>
            <a:r>
              <a:rPr lang="nl-NL" dirty="0" err="1" smtClean="0"/>
              <a:t>footnot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54904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993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5385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031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30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237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66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8604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47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770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5166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46097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tx2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80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7291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7877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8324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0820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271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183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0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2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682990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8" y="1767840"/>
            <a:ext cx="10129658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404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/>
          <p:cNvSpPr/>
          <p:nvPr userDrawn="1"/>
        </p:nvSpPr>
        <p:spPr>
          <a:xfrm>
            <a:off x="5994400" y="1773238"/>
            <a:ext cx="5405438" cy="40941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 Hebrew" charset="-79"/>
              <a:ea typeface="Arial Hebrew" charset="-79"/>
              <a:cs typeface="Arial Hebrew" charset="-79"/>
            </a:endParaRP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/>
          </p:nvPr>
        </p:nvSpPr>
        <p:spPr>
          <a:xfrm>
            <a:off x="6197600" y="1930400"/>
            <a:ext cx="5038725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4988" indent="-263525">
              <a:buClr>
                <a:schemeClr val="accent1"/>
              </a:buClr>
              <a:buFont typeface="Calibri" panose="020F050202020403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8" name="Rechthoek 7"/>
          <p:cNvSpPr/>
          <p:nvPr userDrawn="1"/>
        </p:nvSpPr>
        <p:spPr>
          <a:xfrm>
            <a:off x="447357" y="1773238"/>
            <a:ext cx="5547043" cy="4094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ijdelijke aanduiding voor tekst 8"/>
          <p:cNvSpPr>
            <a:spLocks noGrp="1"/>
          </p:cNvSpPr>
          <p:nvPr>
            <p:ph type="body" sz="quarter" idx="14"/>
          </p:nvPr>
        </p:nvSpPr>
        <p:spPr>
          <a:xfrm>
            <a:off x="660164" y="1930400"/>
            <a:ext cx="5170723" cy="3601511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Calibri" panose="020F0502020204030204" pitchFamily="34" charset="0"/>
              <a:buChar char="-"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888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 analy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ep 2"/>
          <p:cNvGrpSpPr/>
          <p:nvPr userDrawn="1"/>
        </p:nvGrpSpPr>
        <p:grpSpPr>
          <a:xfrm>
            <a:off x="4201965" y="2080060"/>
            <a:ext cx="3443264" cy="3431160"/>
            <a:chOff x="8555490" y="4136840"/>
            <a:chExt cx="7232667" cy="7207240"/>
          </a:xfrm>
        </p:grpSpPr>
        <p:sp>
          <p:nvSpPr>
            <p:cNvPr id="5" name="Pie 45"/>
            <p:cNvSpPr/>
            <p:nvPr userDrawn="1"/>
          </p:nvSpPr>
          <p:spPr>
            <a:xfrm>
              <a:off x="8555491" y="4159929"/>
              <a:ext cx="3539375" cy="3538914"/>
            </a:xfrm>
            <a:prstGeom prst="pieWedg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Pie 4"/>
            <p:cNvSpPr/>
            <p:nvPr userDrawn="1"/>
          </p:nvSpPr>
          <p:spPr>
            <a:xfrm>
              <a:off x="9507484" y="494245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8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S</a:t>
              </a:r>
            </a:p>
          </p:txBody>
        </p:sp>
        <p:sp>
          <p:nvSpPr>
            <p:cNvPr id="8" name="Pie 48"/>
            <p:cNvSpPr/>
            <p:nvPr userDrawn="1"/>
          </p:nvSpPr>
          <p:spPr>
            <a:xfrm rot="5400000">
              <a:off x="12249012" y="4136609"/>
              <a:ext cx="3538914" cy="3539375"/>
            </a:xfrm>
            <a:prstGeom prst="pieWedg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Pie 51"/>
            <p:cNvSpPr/>
            <p:nvPr userDrawn="1"/>
          </p:nvSpPr>
          <p:spPr>
            <a:xfrm rot="16200000">
              <a:off x="8555721" y="7804935"/>
              <a:ext cx="3538914" cy="3539375"/>
            </a:xfrm>
            <a:prstGeom prst="pieWedg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Pie 54"/>
            <p:cNvSpPr/>
            <p:nvPr userDrawn="1"/>
          </p:nvSpPr>
          <p:spPr>
            <a:xfrm rot="10800000">
              <a:off x="12248782" y="7791653"/>
              <a:ext cx="3539375" cy="3538914"/>
            </a:xfrm>
            <a:prstGeom prst="pieWedg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Circular Arrow 56"/>
            <p:cNvSpPr/>
            <p:nvPr userDrawn="1"/>
          </p:nvSpPr>
          <p:spPr>
            <a:xfrm>
              <a:off x="11553132" y="699791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Circular Arrow 57"/>
            <p:cNvSpPr/>
            <p:nvPr userDrawn="1"/>
          </p:nvSpPr>
          <p:spPr>
            <a:xfrm rot="10800000">
              <a:off x="11553132" y="7406562"/>
              <a:ext cx="1222023" cy="1062492"/>
            </a:xfrm>
            <a:prstGeom prst="circular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Pie 4"/>
            <p:cNvSpPr/>
            <p:nvPr userDrawn="1"/>
          </p:nvSpPr>
          <p:spPr>
            <a:xfrm>
              <a:off x="9479262" y="8069205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1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O</a:t>
              </a:r>
            </a:p>
          </p:txBody>
        </p:sp>
        <p:sp>
          <p:nvSpPr>
            <p:cNvPr id="14" name="Pie 4"/>
            <p:cNvSpPr/>
            <p:nvPr userDrawn="1"/>
          </p:nvSpPr>
          <p:spPr>
            <a:xfrm>
              <a:off x="12357886" y="4949276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W</a:t>
              </a:r>
            </a:p>
          </p:txBody>
        </p:sp>
        <p:sp>
          <p:nvSpPr>
            <p:cNvPr id="15" name="Pie 4"/>
            <p:cNvSpPr/>
            <p:nvPr userDrawn="1"/>
          </p:nvSpPr>
          <p:spPr>
            <a:xfrm>
              <a:off x="12428531" y="8173292"/>
              <a:ext cx="2502716" cy="25023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84921" tIns="184921" rIns="184921" bIns="184921" numCol="1" spcCol="2540" anchor="ctr" anchorCtr="0">
              <a:noAutofit/>
            </a:bodyPr>
            <a:lstStyle/>
            <a:p>
              <a:pPr algn="ctr" defTabSz="115575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9600" b="1" dirty="0">
                  <a:solidFill>
                    <a:srgbClr val="FFFFFF"/>
                  </a:solidFill>
                  <a:latin typeface="Arial Hebrew" charset="-79"/>
                  <a:ea typeface="Arial Hebrew" charset="-79"/>
                  <a:cs typeface="Arial Hebrew" charset="-79"/>
                </a:rPr>
                <a:t>T</a:t>
              </a:r>
            </a:p>
          </p:txBody>
        </p:sp>
      </p:grpSp>
      <p:sp>
        <p:nvSpPr>
          <p:cNvPr id="16" name="Ovaal 15"/>
          <p:cNvSpPr/>
          <p:nvPr userDrawn="1"/>
        </p:nvSpPr>
        <p:spPr>
          <a:xfrm>
            <a:off x="579438" y="1789214"/>
            <a:ext cx="811746" cy="8117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TextBox 64"/>
          <p:cNvSpPr txBox="1"/>
          <p:nvPr userDrawn="1"/>
        </p:nvSpPr>
        <p:spPr>
          <a:xfrm>
            <a:off x="1401344" y="1783398"/>
            <a:ext cx="292997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STRENGHT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STERKE PUNTEN</a:t>
            </a:r>
          </a:p>
        </p:txBody>
      </p:sp>
      <p:sp>
        <p:nvSpPr>
          <p:cNvPr id="21" name="TextBox 65"/>
          <p:cNvSpPr txBox="1"/>
          <p:nvPr userDrawn="1"/>
        </p:nvSpPr>
        <p:spPr>
          <a:xfrm>
            <a:off x="1404075" y="4217776"/>
            <a:ext cx="264893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OPPORTUNITIES</a:t>
            </a:r>
          </a:p>
          <a:p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KANSEN</a:t>
            </a:r>
          </a:p>
        </p:txBody>
      </p:sp>
      <p:sp>
        <p:nvSpPr>
          <p:cNvPr id="22" name="TextBox 66"/>
          <p:cNvSpPr txBox="1"/>
          <p:nvPr userDrawn="1"/>
        </p:nvSpPr>
        <p:spPr>
          <a:xfrm>
            <a:off x="8011647" y="1783398"/>
            <a:ext cx="240811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WEAKNES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ZWAKTES</a:t>
            </a:r>
          </a:p>
        </p:txBody>
      </p:sp>
      <p:sp>
        <p:nvSpPr>
          <p:cNvPr id="23" name="TextBox 67"/>
          <p:cNvSpPr txBox="1"/>
          <p:nvPr userDrawn="1"/>
        </p:nvSpPr>
        <p:spPr>
          <a:xfrm>
            <a:off x="7730803" y="4217776"/>
            <a:ext cx="268896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>
                <a:solidFill>
                  <a:srgbClr val="000000"/>
                </a:solidFill>
                <a:cs typeface="Arial" panose="020B0604020202020204" pitchFamily="34" charset="0"/>
              </a:rPr>
              <a:t>Threats</a:t>
            </a:r>
          </a:p>
          <a:p>
            <a:pPr algn="r"/>
            <a:r>
              <a:rPr lang="en-US" dirty="0">
                <a:solidFill>
                  <a:srgbClr val="0077C8"/>
                </a:solidFill>
                <a:cs typeface="Arial" panose="020B0604020202020204" pitchFamily="34" charset="0"/>
              </a:rPr>
              <a:t>BEDREIGINGEN</a:t>
            </a:r>
          </a:p>
        </p:txBody>
      </p:sp>
      <p:sp>
        <p:nvSpPr>
          <p:cNvPr id="25" name="Ovaal 24"/>
          <p:cNvSpPr/>
          <p:nvPr userDrawn="1"/>
        </p:nvSpPr>
        <p:spPr>
          <a:xfrm>
            <a:off x="579438" y="4188599"/>
            <a:ext cx="811746" cy="81174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Ovaal 25"/>
          <p:cNvSpPr/>
          <p:nvPr userDrawn="1"/>
        </p:nvSpPr>
        <p:spPr>
          <a:xfrm>
            <a:off x="10504800" y="1789214"/>
            <a:ext cx="811746" cy="81174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7" name="Ovaal 26"/>
          <p:cNvSpPr/>
          <p:nvPr userDrawn="1"/>
        </p:nvSpPr>
        <p:spPr>
          <a:xfrm>
            <a:off x="10504800" y="4188599"/>
            <a:ext cx="811746" cy="81174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9" name="Tijdelijke aanduiding voor tekst 28"/>
          <p:cNvSpPr>
            <a:spLocks noGrp="1"/>
          </p:cNvSpPr>
          <p:nvPr>
            <p:ph type="body" sz="quarter" idx="11" hasCustomPrompt="1"/>
          </p:nvPr>
        </p:nvSpPr>
        <p:spPr>
          <a:xfrm>
            <a:off x="1402397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strong points...</a:t>
            </a:r>
            <a:endParaRPr lang="en-US" dirty="0"/>
          </a:p>
        </p:txBody>
      </p:sp>
      <p:sp>
        <p:nvSpPr>
          <p:cNvPr id="30" name="Tijdelijke aanduiding voor tekst 28"/>
          <p:cNvSpPr>
            <a:spLocks noGrp="1"/>
          </p:cNvSpPr>
          <p:nvPr>
            <p:ph type="body" sz="quarter" idx="12" hasCustomPrompt="1"/>
          </p:nvPr>
        </p:nvSpPr>
        <p:spPr>
          <a:xfrm>
            <a:off x="1402397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opportunities...</a:t>
            </a:r>
            <a:endParaRPr lang="en-US" dirty="0"/>
          </a:p>
        </p:txBody>
      </p:sp>
      <p:sp>
        <p:nvSpPr>
          <p:cNvPr id="31" name="Tijdelijke aanduiding voor tekst 28"/>
          <p:cNvSpPr>
            <a:spLocks noGrp="1"/>
          </p:cNvSpPr>
          <p:nvPr>
            <p:ph type="body" sz="quarter" idx="13" hasCustomPrompt="1"/>
          </p:nvPr>
        </p:nvSpPr>
        <p:spPr>
          <a:xfrm>
            <a:off x="7696029" y="261048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weaknesses…</a:t>
            </a:r>
            <a:endParaRPr lang="en-US" dirty="0"/>
          </a:p>
        </p:txBody>
      </p:sp>
      <p:sp>
        <p:nvSpPr>
          <p:cNvPr id="32" name="Tijdelijke aanduiding voor tekst 28"/>
          <p:cNvSpPr>
            <a:spLocks noGrp="1"/>
          </p:cNvSpPr>
          <p:nvPr>
            <p:ph type="body" sz="quarter" idx="14" hasCustomPrompt="1"/>
          </p:nvPr>
        </p:nvSpPr>
        <p:spPr>
          <a:xfrm>
            <a:off x="7696029" y="5010505"/>
            <a:ext cx="2713993" cy="133747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l-NL" dirty="0"/>
              <a:t>Edit threats...</a:t>
            </a:r>
            <a:endParaRPr lang="en-US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33" name="Tijdelijke aanduiding vo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36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37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33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3277318" y="893762"/>
            <a:ext cx="5718742" cy="4920622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019266" y="1796421"/>
            <a:ext cx="4185603" cy="260572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icon to add imag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44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6" name="Tijdelijke aanduiding voor tekst 6"/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9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03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in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4"/>
          <p:cNvGrpSpPr/>
          <p:nvPr userDrawn="1"/>
        </p:nvGrpSpPr>
        <p:grpSpPr>
          <a:xfrm>
            <a:off x="2194560" y="700723"/>
            <a:ext cx="7884258" cy="6783914"/>
            <a:chOff x="2323609" y="594889"/>
            <a:chExt cx="4515737" cy="3886016"/>
          </a:xfrm>
        </p:grpSpPr>
        <p:pic>
          <p:nvPicPr>
            <p:cNvPr id="10" name="Picture 3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1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3215040" y="1948821"/>
            <a:ext cx="5779322" cy="35839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op </a:t>
            </a:r>
            <a:r>
              <a:rPr lang="en-US" dirty="0" err="1"/>
              <a:t>icoon</a:t>
            </a:r>
            <a:r>
              <a:rPr lang="en-US" dirty="0"/>
              <a:t> om </a:t>
            </a:r>
            <a:r>
              <a:rPr lang="en-US" dirty="0" err="1"/>
              <a:t>afbeelding</a:t>
            </a:r>
            <a:r>
              <a:rPr lang="en-US" dirty="0"/>
              <a:t> to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voegen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2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7992000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5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808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o am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1185332" y="2333305"/>
            <a:ext cx="2418934" cy="221519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8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the icon to add image</a:t>
            </a:r>
            <a:endParaRPr lang="en-US" dirty="0"/>
          </a:p>
        </p:txBody>
      </p:sp>
      <p:cxnSp>
        <p:nvCxnSpPr>
          <p:cNvPr id="12" name="Straight Connector 38"/>
          <p:cNvCxnSpPr/>
          <p:nvPr userDrawn="1"/>
        </p:nvCxnSpPr>
        <p:spPr>
          <a:xfrm>
            <a:off x="389344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jdelijke aanduiding voor tekst 15"/>
          <p:cNvSpPr>
            <a:spLocks noGrp="1"/>
          </p:cNvSpPr>
          <p:nvPr>
            <p:ph type="body" sz="quarter" idx="12" hasCustomPrompt="1"/>
          </p:nvPr>
        </p:nvSpPr>
        <p:spPr>
          <a:xfrm>
            <a:off x="4135278" y="2333625"/>
            <a:ext cx="3576638" cy="4095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/>
              <a:t>Name Speaker</a:t>
            </a:r>
            <a:endParaRPr lang="en-US" dirty="0"/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3" hasCustomPrompt="1"/>
          </p:nvPr>
        </p:nvSpPr>
        <p:spPr>
          <a:xfrm>
            <a:off x="4135278" y="2916238"/>
            <a:ext cx="3576638" cy="1631950"/>
          </a:xfrm>
          <a:prstGeom prst="rect">
            <a:avLst/>
          </a:prstGeom>
        </p:spPr>
        <p:txBody>
          <a:bodyPr/>
          <a:lstStyle>
            <a:lvl1pPr marL="0" indent="0" algn="just">
              <a:buNone/>
              <a:defRPr sz="160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Tell something about yourself…</a:t>
            </a:r>
            <a:endParaRPr lang="en-US" dirty="0"/>
          </a:p>
        </p:txBody>
      </p:sp>
      <p:cxnSp>
        <p:nvCxnSpPr>
          <p:cNvPr id="19" name="Straight Connector 38"/>
          <p:cNvCxnSpPr/>
          <p:nvPr userDrawn="1"/>
        </p:nvCxnSpPr>
        <p:spPr>
          <a:xfrm>
            <a:off x="7987921" y="2245360"/>
            <a:ext cx="0" cy="2895600"/>
          </a:xfrm>
          <a:prstGeom prst="line">
            <a:avLst/>
          </a:prstGeom>
          <a:ln w="12700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223251" y="88584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193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media 3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4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video</a:t>
            </a:r>
          </a:p>
        </p:txBody>
      </p:sp>
    </p:spTree>
    <p:extLst>
      <p:ext uri="{BB962C8B-B14F-4D97-AF65-F5344CB8AC3E}">
        <p14:creationId xmlns:p14="http://schemas.microsoft.com/office/powerpoint/2010/main" val="37745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907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755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339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33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2949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551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tx2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0217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080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10952481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9498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166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34"/>
          <p:cNvGrpSpPr/>
          <p:nvPr userDrawn="1"/>
        </p:nvGrpSpPr>
        <p:grpSpPr>
          <a:xfrm>
            <a:off x="5478780" y="1336222"/>
            <a:ext cx="6603380" cy="5681798"/>
            <a:chOff x="2323609" y="594889"/>
            <a:chExt cx="4515737" cy="3886016"/>
          </a:xfrm>
        </p:grpSpPr>
        <p:pic>
          <p:nvPicPr>
            <p:cNvPr id="17" name="Picture 3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92" r="4792"/>
            <a:stretch/>
          </p:blipFill>
          <p:spPr>
            <a:xfrm>
              <a:off x="2323609" y="594889"/>
              <a:ext cx="4515737" cy="3886016"/>
            </a:xfrm>
            <a:prstGeom prst="rect">
              <a:avLst/>
            </a:prstGeom>
          </p:spPr>
        </p:pic>
        <p:sp>
          <p:nvSpPr>
            <p:cNvPr id="18" name="Rectangle 36"/>
            <p:cNvSpPr/>
            <p:nvPr/>
          </p:nvSpPr>
          <p:spPr>
            <a:xfrm>
              <a:off x="2908092" y="1313332"/>
              <a:ext cx="3310128" cy="2049481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330314" y="2382838"/>
            <a:ext cx="4839336" cy="299243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460379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5" name="Tijdelijke aanduiding voor grafiek 4"/>
          <p:cNvSpPr>
            <a:spLocks noGrp="1"/>
          </p:cNvSpPr>
          <p:nvPr>
            <p:ph type="chart" sz="quarter" idx="14" hasCustomPrompt="1"/>
          </p:nvPr>
        </p:nvSpPr>
        <p:spPr>
          <a:xfrm>
            <a:off x="5994400" y="1773238"/>
            <a:ext cx="5405438" cy="4068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20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graph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0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461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ndroi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3940" y="1774357"/>
            <a:ext cx="2118359" cy="4067644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nl-NL" dirty="0" smtClean="0"/>
              <a:t>Edit header </a:t>
            </a:r>
            <a:r>
              <a:rPr lang="nl-NL" dirty="0" err="1" smtClean="0"/>
              <a:t>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8740139" y="2166938"/>
            <a:ext cx="1968341" cy="32837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1042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and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pad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0660" y="2357438"/>
            <a:ext cx="4921736" cy="3484562"/>
          </a:xfrm>
          <a:prstGeom prst="rect">
            <a:avLst/>
          </a:prstGeom>
          <a:effectLst>
            <a:reflection blurRad="6350" stA="52000" endA="300" endPos="5000" dir="5400000" sy="-100000" algn="bl" rotWithShape="0"/>
          </a:effec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06043" cy="824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6972300" y="2552700"/>
            <a:ext cx="4084319" cy="30241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insert image</a:t>
            </a:r>
          </a:p>
        </p:txBody>
      </p:sp>
      <p:sp>
        <p:nvSpPr>
          <p:cNvPr id="12" name="Tijdelijke aanduiding voor tekst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7357" y="1773238"/>
            <a:ext cx="5547043" cy="406876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4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-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</a:defRPr>
            </a:lvl3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/>
              <a:t>Thir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88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t sub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698423" cy="81724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7357" y="1198562"/>
            <a:ext cx="10952481" cy="3152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0181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7357" y="379096"/>
            <a:ext cx="7713663" cy="96277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Edit header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043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916183" y="952451"/>
            <a:ext cx="10515600" cy="5387531"/>
          </a:xfrm>
          <a:prstGeom prst="rect">
            <a:avLst/>
          </a:prstGeom>
        </p:spPr>
        <p:txBody>
          <a:bodyPr lIns="109721" tIns="54860" rIns="109721" bIns="54860"/>
          <a:lstStyle>
            <a:lvl1pPr marL="420978" indent="-420978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20000"/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822906" indent="-401930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50000"/>
              <a:buFont typeface="LucidaGrande" charset="0"/>
              <a:buChar char="-"/>
              <a:defRPr sz="19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88642" indent="-293351">
              <a:lnSpc>
                <a:spcPct val="100000"/>
              </a:lnSpc>
              <a:spcBef>
                <a:spcPts val="720"/>
              </a:spcBef>
              <a:spcAft>
                <a:spcPts val="720"/>
              </a:spcAft>
              <a:buClr>
                <a:schemeClr val="accent1"/>
              </a:buClr>
              <a:buSzPct val="100000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3"/>
              </a:buClr>
              <a:buSzPct val="150000"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3"/>
              </a:buClr>
              <a:buSzPct val="150000"/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ext</a:t>
            </a:r>
            <a:endParaRPr lang="nl-NL" dirty="0" smtClean="0"/>
          </a:p>
          <a:p>
            <a:pPr lvl="1"/>
            <a:r>
              <a:rPr lang="nl-NL" dirty="0" smtClean="0"/>
              <a:t> Second level</a:t>
            </a:r>
          </a:p>
          <a:p>
            <a:pPr lvl="2"/>
            <a:r>
              <a:rPr lang="nl-NL" dirty="0" err="1" smtClean="0"/>
              <a:t>Third</a:t>
            </a:r>
            <a:r>
              <a:rPr lang="nl-NL" dirty="0" smtClean="0"/>
              <a:t> level</a:t>
            </a:r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0" hasCustomPrompt="1"/>
          </p:nvPr>
        </p:nvSpPr>
        <p:spPr>
          <a:xfrm>
            <a:off x="911363" y="-262358"/>
            <a:ext cx="10515600" cy="992223"/>
          </a:xfrm>
          <a:prstGeom prst="rect">
            <a:avLst/>
          </a:prstGeom>
        </p:spPr>
        <p:txBody>
          <a:bodyPr lIns="109721" tIns="54860" rIns="109721" bIns="54860" anchor="b" anchorCtr="0"/>
          <a:lstStyle>
            <a:lvl1pPr marL="0" indent="0">
              <a:buNone/>
              <a:defRPr sz="2900" b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 smtClean="0"/>
          </a:p>
        </p:txBody>
      </p:sp>
      <p:sp>
        <p:nvSpPr>
          <p:cNvPr id="4" name="Rechthoek 10"/>
          <p:cNvSpPr/>
          <p:nvPr userDrawn="1"/>
        </p:nvSpPr>
        <p:spPr>
          <a:xfrm>
            <a:off x="117871" y="6386933"/>
            <a:ext cx="409137" cy="295457"/>
          </a:xfrm>
          <a:prstGeom prst="rect">
            <a:avLst/>
          </a:prstGeom>
        </p:spPr>
        <p:txBody>
          <a:bodyPr wrap="none" lIns="109721" tIns="54860" rIns="109721" bIns="54860">
            <a:spAutoFit/>
          </a:bodyPr>
          <a:lstStyle/>
          <a:p>
            <a:pPr algn="ctr" defTabSz="1097208">
              <a:defRPr/>
            </a:pPr>
            <a:fld id="{478F02DA-AB65-4DE3-8C32-C1DFFF12922F}" type="slidenum">
              <a:rPr lang="nl-NL" sz="1200" b="1">
                <a:solidFill>
                  <a:srgbClr val="FFFFFF"/>
                </a:solidFill>
                <a:cs typeface="Arial" panose="020B0604020202020204" pitchFamily="34" charset="0"/>
              </a:rPr>
              <a:pPr algn="ctr" defTabSz="1097208">
                <a:defRPr/>
              </a:pPr>
              <a:t>‹#›</a:t>
            </a:fld>
            <a:endParaRPr lang="nl-NL" sz="12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83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439">
          <p15:clr>
            <a:srgbClr val="FBAE40"/>
          </p15:clr>
        </p15:guide>
        <p15:guide id="2" pos="546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hoek 10"/>
          <p:cNvSpPr/>
          <p:nvPr userDrawn="1"/>
        </p:nvSpPr>
        <p:spPr>
          <a:xfrm>
            <a:off x="11422302" y="0"/>
            <a:ext cx="487680" cy="487680"/>
          </a:xfrm>
          <a:prstGeom prst="rect">
            <a:avLst/>
          </a:prstGeom>
          <a:solidFill>
            <a:srgbClr val="3395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12" name="Rechthoek 11"/>
          <p:cNvSpPr/>
          <p:nvPr userDrawn="1"/>
        </p:nvSpPr>
        <p:spPr>
          <a:xfrm>
            <a:off x="8140701" y="0"/>
            <a:ext cx="3281602" cy="48768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477"/>
            <a:ext cx="12192000" cy="6858477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12192000 w 12192000"/>
              <a:gd name="connsiteY2" fmla="*/ 7620 h 6865620"/>
              <a:gd name="connsiteX3" fmla="*/ 12192000 w 12192000"/>
              <a:gd name="connsiteY3" fmla="*/ 6865620 h 6865620"/>
              <a:gd name="connsiteX4" fmla="*/ 0 w 12192000"/>
              <a:gd name="connsiteY4" fmla="*/ 6865620 h 6865620"/>
              <a:gd name="connsiteX5" fmla="*/ 0 w 12192000"/>
              <a:gd name="connsiteY5" fmla="*/ 7620 h 6865620"/>
              <a:gd name="connsiteX0" fmla="*/ 0 w 12192000"/>
              <a:gd name="connsiteY0" fmla="*/ 15240 h 6873240"/>
              <a:gd name="connsiteX1" fmla="*/ 8846820 w 12192000"/>
              <a:gd name="connsiteY1" fmla="*/ 7620 h 6873240"/>
              <a:gd name="connsiteX2" fmla="*/ 10416540 w 12192000"/>
              <a:gd name="connsiteY2" fmla="*/ 0 h 6873240"/>
              <a:gd name="connsiteX3" fmla="*/ 12192000 w 12192000"/>
              <a:gd name="connsiteY3" fmla="*/ 15240 h 6873240"/>
              <a:gd name="connsiteX4" fmla="*/ 12192000 w 12192000"/>
              <a:gd name="connsiteY4" fmla="*/ 6873240 h 6873240"/>
              <a:gd name="connsiteX5" fmla="*/ 0 w 12192000"/>
              <a:gd name="connsiteY5" fmla="*/ 6873240 h 6873240"/>
              <a:gd name="connsiteX6" fmla="*/ 0 w 12192000"/>
              <a:gd name="connsiteY6" fmla="*/ 15240 h 687324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2192000 w 12192000"/>
              <a:gd name="connsiteY3" fmla="*/ 7620 h 6865620"/>
              <a:gd name="connsiteX4" fmla="*/ 12192000 w 12192000"/>
              <a:gd name="connsiteY4" fmla="*/ 6865620 h 6865620"/>
              <a:gd name="connsiteX5" fmla="*/ 0 w 12192000"/>
              <a:gd name="connsiteY5" fmla="*/ 6865620 h 6865620"/>
              <a:gd name="connsiteX6" fmla="*/ 0 w 12192000"/>
              <a:gd name="connsiteY6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0386060 w 12192000"/>
              <a:gd name="connsiteY3" fmla="*/ 26670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192000 w 12192000"/>
              <a:gd name="connsiteY4" fmla="*/ 7620 h 6865620"/>
              <a:gd name="connsiteX5" fmla="*/ 12192000 w 12192000"/>
              <a:gd name="connsiteY5" fmla="*/ 6865620 h 6865620"/>
              <a:gd name="connsiteX6" fmla="*/ 0 w 12192000"/>
              <a:gd name="connsiteY6" fmla="*/ 6865620 h 6865620"/>
              <a:gd name="connsiteX7" fmla="*/ 0 w 12192000"/>
              <a:gd name="connsiteY7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2092940 w 12192000"/>
              <a:gd name="connsiteY4" fmla="*/ 16764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1768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846820 w 12192000"/>
              <a:gd name="connsiteY2" fmla="*/ 495300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7620 h 6865620"/>
              <a:gd name="connsiteX1" fmla="*/ 8846820 w 12192000"/>
              <a:gd name="connsiteY1" fmla="*/ 0 h 6865620"/>
              <a:gd name="connsiteX2" fmla="*/ 8146732 w 12192000"/>
              <a:gd name="connsiteY2" fmla="*/ 492918 h 6865620"/>
              <a:gd name="connsiteX3" fmla="*/ 11902440 w 12192000"/>
              <a:gd name="connsiteY3" fmla="*/ 487680 h 6865620"/>
              <a:gd name="connsiteX4" fmla="*/ 11902440 w 12192000"/>
              <a:gd name="connsiteY4" fmla="*/ 7620 h 6865620"/>
              <a:gd name="connsiteX5" fmla="*/ 12192000 w 12192000"/>
              <a:gd name="connsiteY5" fmla="*/ 7620 h 6865620"/>
              <a:gd name="connsiteX6" fmla="*/ 12192000 w 12192000"/>
              <a:gd name="connsiteY6" fmla="*/ 6865620 h 6865620"/>
              <a:gd name="connsiteX7" fmla="*/ 0 w 12192000"/>
              <a:gd name="connsiteY7" fmla="*/ 6865620 h 6865620"/>
              <a:gd name="connsiteX8" fmla="*/ 0 w 12192000"/>
              <a:gd name="connsiteY8" fmla="*/ 7620 h 6865620"/>
              <a:gd name="connsiteX0" fmla="*/ 0 w 12192000"/>
              <a:gd name="connsiteY0" fmla="*/ 477 h 6858477"/>
              <a:gd name="connsiteX1" fmla="*/ 8144351 w 12192000"/>
              <a:gd name="connsiteY1" fmla="*/ 0 h 6858477"/>
              <a:gd name="connsiteX2" fmla="*/ 8146732 w 12192000"/>
              <a:gd name="connsiteY2" fmla="*/ 485775 h 6858477"/>
              <a:gd name="connsiteX3" fmla="*/ 11902440 w 12192000"/>
              <a:gd name="connsiteY3" fmla="*/ 480537 h 6858477"/>
              <a:gd name="connsiteX4" fmla="*/ 11902440 w 12192000"/>
              <a:gd name="connsiteY4" fmla="*/ 477 h 6858477"/>
              <a:gd name="connsiteX5" fmla="*/ 12192000 w 12192000"/>
              <a:gd name="connsiteY5" fmla="*/ 477 h 6858477"/>
              <a:gd name="connsiteX6" fmla="*/ 12192000 w 12192000"/>
              <a:gd name="connsiteY6" fmla="*/ 6858477 h 6858477"/>
              <a:gd name="connsiteX7" fmla="*/ 0 w 12192000"/>
              <a:gd name="connsiteY7" fmla="*/ 6858477 h 6858477"/>
              <a:gd name="connsiteX8" fmla="*/ 0 w 12192000"/>
              <a:gd name="connsiteY8" fmla="*/ 477 h 6858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477">
                <a:moveTo>
                  <a:pt x="0" y="477"/>
                </a:moveTo>
                <a:lnTo>
                  <a:pt x="8144351" y="0"/>
                </a:lnTo>
                <a:cubicBezTo>
                  <a:pt x="8145145" y="161925"/>
                  <a:pt x="8145938" y="323850"/>
                  <a:pt x="8146732" y="485775"/>
                </a:cubicBezTo>
                <a:lnTo>
                  <a:pt x="11902440" y="480537"/>
                </a:lnTo>
                <a:lnTo>
                  <a:pt x="11902440" y="477"/>
                </a:lnTo>
                <a:lnTo>
                  <a:pt x="12192000" y="477"/>
                </a:lnTo>
                <a:lnTo>
                  <a:pt x="12192000" y="6858477"/>
                </a:lnTo>
                <a:lnTo>
                  <a:pt x="0" y="6858477"/>
                </a:lnTo>
                <a:lnTo>
                  <a:pt x="0" y="477"/>
                </a:lnTo>
                <a:close/>
              </a:path>
            </a:pathLst>
          </a:cu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2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731963" y="3616960"/>
            <a:ext cx="9059500" cy="1293540"/>
          </a:xfrm>
          <a:prstGeom prst="rect">
            <a:avLst/>
          </a:prstGeom>
        </p:spPr>
        <p:txBody>
          <a:bodyPr lIns="0" anchor="b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0" name="Rechthoek 29"/>
          <p:cNvSpPr/>
          <p:nvPr userDrawn="1"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0198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332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28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4110" userDrawn="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/>
              <a:t>Maecenas tincidunt eleifend consequat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655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1767840"/>
            <a:ext cx="10952481" cy="4074160"/>
          </a:xfrm>
          <a:prstGeom prst="rect">
            <a:avLst/>
          </a:prstGeom>
        </p:spPr>
        <p:txBody>
          <a:bodyPr numCol="3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  <a:p>
            <a:pPr lvl="0"/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tincidunt</a:t>
            </a:r>
            <a:r>
              <a:rPr lang="nl-NL" dirty="0"/>
              <a:t> </a:t>
            </a:r>
            <a:r>
              <a:rPr lang="nl-NL" dirty="0" err="1"/>
              <a:t>eleifend</a:t>
            </a:r>
            <a:r>
              <a:rPr lang="nl-NL" dirty="0"/>
              <a:t> </a:t>
            </a:r>
            <a:r>
              <a:rPr lang="nl-NL" dirty="0" err="1"/>
              <a:t>consequat</a:t>
            </a:r>
            <a:r>
              <a:rPr lang="nl-NL" dirty="0"/>
              <a:t>. </a:t>
            </a:r>
            <a:r>
              <a:rPr lang="nl-NL" dirty="0" err="1"/>
              <a:t>Nulla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urna</a:t>
            </a:r>
            <a:r>
              <a:rPr lang="nl-NL" dirty="0"/>
              <a:t> et massa </a:t>
            </a:r>
            <a:r>
              <a:rPr lang="nl-NL" dirty="0" err="1"/>
              <a:t>dapibus</a:t>
            </a:r>
            <a:r>
              <a:rPr lang="nl-NL" dirty="0"/>
              <a:t> maximus. </a:t>
            </a:r>
            <a:r>
              <a:rPr lang="nl-NL" dirty="0" err="1"/>
              <a:t>Maecenas</a:t>
            </a:r>
            <a:r>
              <a:rPr lang="nl-NL" dirty="0"/>
              <a:t> </a:t>
            </a:r>
            <a:r>
              <a:rPr lang="nl-NL" dirty="0" err="1"/>
              <a:t>sit</a:t>
            </a:r>
            <a:r>
              <a:rPr lang="nl-NL" dirty="0"/>
              <a:t> </a:t>
            </a:r>
            <a:r>
              <a:rPr lang="nl-NL" dirty="0" err="1"/>
              <a:t>amet</a:t>
            </a:r>
            <a:r>
              <a:rPr lang="nl-NL" dirty="0"/>
              <a:t> </a:t>
            </a:r>
            <a:r>
              <a:rPr lang="nl-NL" dirty="0" err="1"/>
              <a:t>risus</a:t>
            </a:r>
            <a:r>
              <a:rPr lang="nl-NL" dirty="0"/>
              <a:t> </a:t>
            </a:r>
            <a:r>
              <a:rPr lang="nl-NL" dirty="0" err="1"/>
              <a:t>pretium</a:t>
            </a:r>
            <a:r>
              <a:rPr lang="nl-NL" dirty="0"/>
              <a:t>, </a:t>
            </a:r>
            <a:r>
              <a:rPr lang="nl-NL" dirty="0" err="1"/>
              <a:t>sagittis</a:t>
            </a:r>
            <a:r>
              <a:rPr lang="nl-NL" dirty="0"/>
              <a:t> </a:t>
            </a:r>
            <a:r>
              <a:rPr lang="nl-NL" dirty="0" err="1"/>
              <a:t>dui</a:t>
            </a:r>
            <a:r>
              <a:rPr lang="nl-NL" dirty="0"/>
              <a:t> ut,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purus</a:t>
            </a:r>
            <a:r>
              <a:rPr lang="nl-NL" dirty="0"/>
              <a:t>. </a:t>
            </a:r>
          </a:p>
          <a:p>
            <a:pPr lvl="0"/>
            <a:endParaRPr lang="nl-NL" dirty="0"/>
          </a:p>
          <a:p>
            <a:pPr lvl="0"/>
            <a:r>
              <a:rPr lang="nl-NL" dirty="0" err="1"/>
              <a:t>Phasellus</a:t>
            </a:r>
            <a:r>
              <a:rPr lang="nl-NL" dirty="0"/>
              <a:t> auctor </a:t>
            </a:r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a </a:t>
            </a:r>
            <a:r>
              <a:rPr lang="nl-NL" dirty="0" err="1"/>
              <a:t>consequat</a:t>
            </a:r>
            <a:r>
              <a:rPr lang="nl-NL" dirty="0"/>
              <a:t>. Vestibulum </a:t>
            </a:r>
            <a:r>
              <a:rPr lang="nl-NL" dirty="0" err="1"/>
              <a:t>congue</a:t>
            </a:r>
            <a:r>
              <a:rPr lang="nl-NL" dirty="0"/>
              <a:t> </a:t>
            </a:r>
            <a:r>
              <a:rPr lang="nl-NL" dirty="0" err="1"/>
              <a:t>sed</a:t>
            </a:r>
            <a:r>
              <a:rPr lang="nl-NL" dirty="0"/>
              <a:t> </a:t>
            </a:r>
            <a:r>
              <a:rPr lang="nl-NL" dirty="0" err="1"/>
              <a:t>orci</a:t>
            </a:r>
            <a:r>
              <a:rPr lang="nl-NL" dirty="0"/>
              <a:t> </a:t>
            </a:r>
            <a:r>
              <a:rPr lang="nl-NL" dirty="0" err="1"/>
              <a:t>efficitur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. Integer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ligula</a:t>
            </a:r>
            <a:r>
              <a:rPr lang="nl-NL" dirty="0"/>
              <a:t>, </a:t>
            </a:r>
            <a:r>
              <a:rPr lang="nl-NL" dirty="0" err="1"/>
              <a:t>aliquet</a:t>
            </a:r>
            <a:r>
              <a:rPr lang="nl-NL" dirty="0"/>
              <a:t> </a:t>
            </a:r>
            <a:r>
              <a:rPr lang="nl-NL" dirty="0" err="1"/>
              <a:t>lobortis</a:t>
            </a:r>
            <a:r>
              <a:rPr lang="nl-NL" dirty="0"/>
              <a:t> </a:t>
            </a:r>
            <a:r>
              <a:rPr lang="nl-NL" dirty="0" err="1"/>
              <a:t>nulla</a:t>
            </a:r>
            <a:r>
              <a:rPr lang="nl-NL" dirty="0"/>
              <a:t> commodo vel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3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8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868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/>
          <p:cNvSpPr>
            <a:spLocks noGrp="1"/>
          </p:cNvSpPr>
          <p:nvPr>
            <p:ph type="body" sz="quarter" idx="11" hasCustomPrompt="1"/>
          </p:nvPr>
        </p:nvSpPr>
        <p:spPr>
          <a:xfrm>
            <a:off x="447357" y="4348480"/>
            <a:ext cx="10952481" cy="1493520"/>
          </a:xfrm>
          <a:prstGeom prst="rect">
            <a:avLst/>
          </a:prstGeom>
        </p:spPr>
        <p:txBody>
          <a:bodyPr numCol="2" spcCol="432000"/>
          <a:lstStyle>
            <a:lvl1pPr marL="0" indent="0"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l-NL" dirty="0" err="1"/>
              <a:t>consectetur</a:t>
            </a:r>
            <a:r>
              <a:rPr lang="nl-NL" dirty="0"/>
              <a:t> </a:t>
            </a:r>
            <a:r>
              <a:rPr lang="nl-NL" dirty="0" err="1"/>
              <a:t>adipiscing</a:t>
            </a:r>
            <a:r>
              <a:rPr lang="nl-NL" dirty="0"/>
              <a:t> </a:t>
            </a:r>
            <a:r>
              <a:rPr lang="nl-NL" dirty="0" err="1"/>
              <a:t>elit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mauris</a:t>
            </a:r>
            <a:r>
              <a:rPr lang="nl-NL" dirty="0"/>
              <a:t> </a:t>
            </a:r>
            <a:r>
              <a:rPr lang="nl-NL" dirty="0" err="1"/>
              <a:t>lorem</a:t>
            </a:r>
            <a:r>
              <a:rPr lang="nl-NL" dirty="0"/>
              <a:t>, vestibulum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rutrum</a:t>
            </a:r>
            <a:r>
              <a:rPr lang="nl-NL" dirty="0"/>
              <a:t> </a:t>
            </a:r>
            <a:r>
              <a:rPr lang="nl-NL" dirty="0" err="1"/>
              <a:t>id</a:t>
            </a:r>
            <a:r>
              <a:rPr lang="nl-NL" dirty="0"/>
              <a:t>, </a:t>
            </a:r>
            <a:r>
              <a:rPr lang="nl-NL" dirty="0" err="1"/>
              <a:t>suscipit</a:t>
            </a:r>
            <a:r>
              <a:rPr lang="nl-NL" dirty="0"/>
              <a:t> in </a:t>
            </a:r>
            <a:r>
              <a:rPr lang="nl-NL" dirty="0" err="1"/>
              <a:t>dui.</a:t>
            </a:r>
            <a:r>
              <a:rPr lang="nl-NL" dirty="0"/>
              <a:t> </a:t>
            </a:r>
            <a:r>
              <a:rPr lang="nl-NL" dirty="0" err="1"/>
              <a:t>Donec</a:t>
            </a:r>
            <a:r>
              <a:rPr lang="nl-NL" dirty="0"/>
              <a:t> vitae </a:t>
            </a:r>
            <a:r>
              <a:rPr lang="nl-NL" dirty="0" err="1"/>
              <a:t>dapibus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Vestibulum </a:t>
            </a:r>
            <a:r>
              <a:rPr lang="nl-NL" dirty="0" err="1"/>
              <a:t>nunc</a:t>
            </a:r>
            <a:r>
              <a:rPr lang="nl-NL" dirty="0"/>
              <a:t> </a:t>
            </a:r>
            <a:r>
              <a:rPr lang="nl-NL" dirty="0" err="1"/>
              <a:t>sem</a:t>
            </a:r>
            <a:r>
              <a:rPr lang="nl-NL" dirty="0"/>
              <a:t>, </a:t>
            </a:r>
            <a:r>
              <a:rPr lang="nl-NL" dirty="0" err="1"/>
              <a:t>finibus</a:t>
            </a:r>
            <a:r>
              <a:rPr lang="nl-NL" dirty="0"/>
              <a:t>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elementum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, </a:t>
            </a:r>
            <a:r>
              <a:rPr lang="nl-NL" dirty="0" err="1"/>
              <a:t>variu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ellus</a:t>
            </a:r>
            <a:r>
              <a:rPr lang="nl-NL" dirty="0"/>
              <a:t>. Nam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faucibus</a:t>
            </a:r>
            <a:r>
              <a:rPr lang="nl-NL" dirty="0"/>
              <a:t> </a:t>
            </a:r>
            <a:r>
              <a:rPr lang="nl-NL" dirty="0" err="1"/>
              <a:t>venenatis</a:t>
            </a:r>
            <a:r>
              <a:rPr lang="nl-NL" dirty="0"/>
              <a:t>. </a:t>
            </a:r>
            <a:r>
              <a:rPr lang="nl-NL" dirty="0" err="1"/>
              <a:t>Donec</a:t>
            </a:r>
            <a:r>
              <a:rPr lang="nl-NL" dirty="0"/>
              <a:t> </a:t>
            </a:r>
            <a:r>
              <a:rPr lang="nl-NL" dirty="0" err="1"/>
              <a:t>nec</a:t>
            </a:r>
            <a:r>
              <a:rPr lang="nl-NL" dirty="0"/>
              <a:t> </a:t>
            </a:r>
            <a:r>
              <a:rPr lang="nl-NL" dirty="0" err="1"/>
              <a:t>arcu</a:t>
            </a:r>
            <a:r>
              <a:rPr lang="nl-NL" dirty="0"/>
              <a:t> </a:t>
            </a:r>
            <a:r>
              <a:rPr lang="nl-NL" dirty="0" err="1"/>
              <a:t>velit</a:t>
            </a:r>
            <a:r>
              <a:rPr lang="nl-NL" dirty="0"/>
              <a:t>. </a:t>
            </a:r>
            <a:r>
              <a:rPr lang="nl-NL" dirty="0" err="1"/>
              <a:t>Fusce</a:t>
            </a:r>
            <a:r>
              <a:rPr lang="nl-NL" dirty="0"/>
              <a:t> </a:t>
            </a:r>
            <a:r>
              <a:rPr lang="nl-NL" dirty="0" err="1"/>
              <a:t>viverra</a:t>
            </a:r>
            <a:r>
              <a:rPr lang="nl-NL" dirty="0"/>
              <a:t>, </a:t>
            </a:r>
            <a:r>
              <a:rPr lang="nl-NL" dirty="0" err="1"/>
              <a:t>dui</a:t>
            </a:r>
            <a:r>
              <a:rPr lang="nl-NL" dirty="0"/>
              <a:t> vitae </a:t>
            </a:r>
            <a:r>
              <a:rPr lang="nl-NL" dirty="0" err="1"/>
              <a:t>euismod</a:t>
            </a:r>
            <a:r>
              <a:rPr lang="nl-NL" dirty="0"/>
              <a:t> </a:t>
            </a:r>
            <a:r>
              <a:rPr lang="nl-NL" dirty="0" err="1"/>
              <a:t>mollis</a:t>
            </a:r>
            <a:r>
              <a:rPr lang="nl-NL" dirty="0"/>
              <a:t>, </a:t>
            </a:r>
            <a:r>
              <a:rPr lang="nl-NL" dirty="0" err="1"/>
              <a:t>tortor</a:t>
            </a:r>
            <a:r>
              <a:rPr lang="nl-NL" dirty="0"/>
              <a:t> magna </a:t>
            </a:r>
            <a:r>
              <a:rPr lang="nl-NL" dirty="0" err="1"/>
              <a:t>egesta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, et </a:t>
            </a:r>
            <a:r>
              <a:rPr lang="nl-NL" dirty="0" err="1"/>
              <a:t>suscipit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 ex </a:t>
            </a:r>
            <a:r>
              <a:rPr lang="nl-NL" dirty="0" err="1"/>
              <a:t>quis</a:t>
            </a:r>
            <a:r>
              <a:rPr lang="nl-NL" dirty="0"/>
              <a:t> </a:t>
            </a:r>
            <a:r>
              <a:rPr lang="nl-NL" dirty="0" err="1"/>
              <a:t>nunc</a:t>
            </a:r>
            <a:r>
              <a:rPr lang="nl-NL" dirty="0"/>
              <a:t>. </a:t>
            </a:r>
            <a:r>
              <a:rPr lang="nl-NL" dirty="0" err="1"/>
              <a:t>Pellentesque</a:t>
            </a:r>
            <a:r>
              <a:rPr lang="nl-NL" dirty="0"/>
              <a:t> </a:t>
            </a:r>
            <a:r>
              <a:rPr lang="nl-NL" dirty="0" err="1"/>
              <a:t>habitant</a:t>
            </a:r>
            <a:r>
              <a:rPr lang="nl-NL" dirty="0"/>
              <a:t> </a:t>
            </a:r>
            <a:r>
              <a:rPr lang="nl-NL" dirty="0" err="1"/>
              <a:t>morbi</a:t>
            </a:r>
            <a:r>
              <a:rPr lang="nl-NL" dirty="0"/>
              <a:t> </a:t>
            </a:r>
            <a:r>
              <a:rPr lang="nl-NL" dirty="0" err="1"/>
              <a:t>tristique</a:t>
            </a:r>
            <a:r>
              <a:rPr lang="nl-NL" dirty="0"/>
              <a:t> </a:t>
            </a:r>
            <a:r>
              <a:rPr lang="nl-NL" dirty="0" err="1"/>
              <a:t>senectus</a:t>
            </a:r>
            <a:r>
              <a:rPr lang="nl-NL" dirty="0"/>
              <a:t> et </a:t>
            </a:r>
            <a:r>
              <a:rPr lang="nl-NL" dirty="0" err="1"/>
              <a:t>netus</a:t>
            </a:r>
            <a:r>
              <a:rPr lang="nl-NL" dirty="0"/>
              <a:t> et </a:t>
            </a:r>
            <a:r>
              <a:rPr lang="nl-NL" dirty="0" err="1"/>
              <a:t>malesuada</a:t>
            </a:r>
            <a:r>
              <a:rPr lang="nl-NL" dirty="0"/>
              <a:t> </a:t>
            </a:r>
            <a:r>
              <a:rPr lang="nl-NL" dirty="0" err="1"/>
              <a:t>fames</a:t>
            </a:r>
            <a:r>
              <a:rPr lang="nl-NL" dirty="0"/>
              <a:t> </a:t>
            </a:r>
            <a:r>
              <a:rPr lang="nl-NL" dirty="0" err="1"/>
              <a:t>ac</a:t>
            </a:r>
            <a:r>
              <a:rPr lang="nl-NL" dirty="0"/>
              <a:t> </a:t>
            </a:r>
            <a:r>
              <a:rPr lang="nl-NL" dirty="0" err="1"/>
              <a:t>turpis</a:t>
            </a:r>
            <a:r>
              <a:rPr lang="nl-NL" dirty="0"/>
              <a:t> </a:t>
            </a:r>
            <a:r>
              <a:rPr lang="nl-NL" dirty="0" err="1"/>
              <a:t>egestas</a:t>
            </a:r>
            <a:r>
              <a:rPr lang="nl-NL" dirty="0"/>
              <a:t>. Integer </a:t>
            </a:r>
            <a:r>
              <a:rPr lang="nl-NL" dirty="0" err="1"/>
              <a:t>eget</a:t>
            </a:r>
            <a:r>
              <a:rPr lang="nl-NL" dirty="0"/>
              <a:t> auctor </a:t>
            </a:r>
            <a:r>
              <a:rPr lang="nl-NL" dirty="0" err="1"/>
              <a:t>nunc</a:t>
            </a:r>
            <a:r>
              <a:rPr lang="nl-NL" dirty="0"/>
              <a:t>. </a:t>
            </a:r>
          </a:p>
        </p:txBody>
      </p:sp>
      <p:sp>
        <p:nvSpPr>
          <p:cNvPr id="3" name="Rechthoek 2"/>
          <p:cNvSpPr/>
          <p:nvPr userDrawn="1"/>
        </p:nvSpPr>
        <p:spPr>
          <a:xfrm>
            <a:off x="5994400" y="1773238"/>
            <a:ext cx="5405438" cy="2575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447357" y="1773238"/>
            <a:ext cx="5547043" cy="2574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lang="en-US" sz="1800" kern="12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Click on the icon to </a:t>
            </a:r>
            <a:r>
              <a:rPr lang="en-US" dirty="0" err="1"/>
              <a:t>inser</a:t>
            </a:r>
            <a:r>
              <a:rPr lang="en-US" dirty="0"/>
              <a:t> image</a:t>
            </a:r>
          </a:p>
        </p:txBody>
      </p:sp>
      <p:sp>
        <p:nvSpPr>
          <p:cNvPr id="9" name="Tijdelijke aanduiding vo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6197600" y="1930400"/>
            <a:ext cx="5038725" cy="2265363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2000">
                <a:solidFill>
                  <a:schemeClr val="tx1"/>
                </a:solidFill>
              </a:defRPr>
            </a:lvl1pPr>
            <a:lvl2pPr marL="685800" indent="-228600">
              <a:buClr>
                <a:schemeClr val="tx2"/>
              </a:buClr>
              <a:buFont typeface="Calibri" panose="020F0502020204030204" pitchFamily="34" charset="0"/>
              <a:buChar char="-"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nl-NL" dirty="0"/>
              <a:t>Edit text</a:t>
            </a:r>
          </a:p>
          <a:p>
            <a:pPr lvl="1"/>
            <a:r>
              <a:rPr lang="nl-NL" dirty="0"/>
              <a:t>Second level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8199438" y="106363"/>
            <a:ext cx="3176587" cy="290512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000">
                <a:solidFill>
                  <a:schemeClr val="bg1"/>
                </a:solidFill>
              </a:defRPr>
            </a:lvl2pPr>
            <a:lvl3pPr marL="914400" indent="0">
              <a:buNone/>
              <a:defRPr sz="1000">
                <a:solidFill>
                  <a:schemeClr val="bg1"/>
                </a:solidFill>
              </a:defRPr>
            </a:lvl3pPr>
            <a:lvl4pPr marL="1371600" indent="0">
              <a:buNone/>
              <a:defRPr sz="1000">
                <a:solidFill>
                  <a:schemeClr val="bg1"/>
                </a:solidFill>
              </a:defRPr>
            </a:lvl4pPr>
            <a:lvl5pPr marL="1828800" indent="0">
              <a:buNone/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subject text styles</a:t>
            </a:r>
          </a:p>
        </p:txBody>
      </p:sp>
      <p:sp>
        <p:nvSpPr>
          <p:cNvPr id="10" name="Tijdelijke aanduiding voor tekst 6"/>
          <p:cNvSpPr>
            <a:spLocks noGrp="1"/>
          </p:cNvSpPr>
          <p:nvPr>
            <p:ph type="body" sz="quarter" idx="15" hasCustomPrompt="1"/>
          </p:nvPr>
        </p:nvSpPr>
        <p:spPr>
          <a:xfrm>
            <a:off x="447675" y="6320490"/>
            <a:ext cx="8897938" cy="160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 i="1"/>
            </a:lvl1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footnote</a:t>
            </a:r>
            <a:endParaRPr lang="nl-NL" dirty="0"/>
          </a:p>
        </p:txBody>
      </p:sp>
      <p:sp>
        <p:nvSpPr>
          <p:cNvPr id="13" name="Tijdelijke aanduiding vo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737" y="914559"/>
            <a:ext cx="10952481" cy="3355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>
                <a:solidFill>
                  <a:schemeClr val="accent1"/>
                </a:solidFill>
              </a:defRPr>
            </a:lvl2pPr>
            <a:lvl3pPr marL="914400" indent="0">
              <a:buNone/>
              <a:defRPr sz="1800" b="1">
                <a:solidFill>
                  <a:schemeClr val="accent1"/>
                </a:solidFill>
              </a:defRPr>
            </a:lvl3pPr>
            <a:lvl4pPr marL="1371600" indent="0">
              <a:buNone/>
              <a:defRPr sz="1600" b="1">
                <a:solidFill>
                  <a:schemeClr val="accent1"/>
                </a:solidFill>
              </a:defRPr>
            </a:lvl4pPr>
            <a:lvl5pPr marL="1828800" indent="0">
              <a:buNone/>
              <a:defRPr sz="16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Sub titl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428307" y="-3810"/>
            <a:ext cx="7706043" cy="921265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nl-NL" dirty="0" err="1"/>
              <a:t>Edit</a:t>
            </a:r>
            <a:r>
              <a:rPr lang="nl-NL" dirty="0"/>
              <a:t> heade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270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="" xmlns:p15="http://schemas.microsoft.com/office/powerpoint/2012/main">
        <p15:guide id="1" orient="horz" pos="935">
          <p15:clr>
            <a:srgbClr val="FBAE40"/>
          </p15:clr>
        </p15:guide>
        <p15:guide id="2" orient="horz" pos="3680">
          <p15:clr>
            <a:srgbClr val="FBAE40"/>
          </p15:clr>
        </p15:guide>
        <p15:guide id="3" orient="horz" pos="111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slideLayout" Target="../slideLayouts/slideLayout111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1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16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image" Target="../media/image14.jpeg"/><Relationship Id="rId5" Type="http://schemas.openxmlformats.org/officeDocument/2006/relationships/slideLayout" Target="../slideLayouts/slideLayout133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42.xml"/><Relationship Id="rId10" Type="http://schemas.openxmlformats.org/officeDocument/2006/relationships/image" Target="../media/image14.jpeg"/><Relationship Id="rId4" Type="http://schemas.openxmlformats.org/officeDocument/2006/relationships/slideLayout" Target="../slideLayouts/slideLayout141.xml"/><Relationship Id="rId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14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image" Target="../media/image14.jpeg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154.xml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5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image" Target="../media/image1.jpeg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theme" Target="../theme/theme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image" Target="../media/image11.emf"/><Relationship Id="rId8" Type="http://schemas.openxmlformats.org/officeDocument/2006/relationships/slideLayout" Target="../slideLayouts/slideLayout5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79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image" Target="../media/image13.jpeg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 Same Side Corner Rectangle 9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ound Same Side Corner Rectangle 10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101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7" userDrawn="1">
          <p15:clr>
            <a:srgbClr val="F26B43"/>
          </p15:clr>
        </p15:guide>
        <p15:guide id="2" pos="365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11" name="Round Same Side Corner Rectangle 10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31" r="8617" b="15326"/>
          <a:stretch/>
        </p:blipFill>
        <p:spPr>
          <a:xfrm>
            <a:off x="10421007" y="6018069"/>
            <a:ext cx="1371600" cy="643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58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ound Same Side Corner Rectangle 7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2468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49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7">
          <p15:clr>
            <a:srgbClr val="F26B43"/>
          </p15:clr>
        </p15:guide>
        <p15:guide id="2" pos="347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11" name="Round Same Side Corner Rectangle 10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1007" y="6018069"/>
            <a:ext cx="1371600" cy="643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986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8" r:id="rId7"/>
    <p:sldLayoutId id="2147483819" r:id="rId8"/>
    <p:sldLayoutId id="2147483820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11" name="Round Same Side Corner Rectangle 10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1007" y="6018069"/>
            <a:ext cx="1371600" cy="643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056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30" r:id="rId7"/>
    <p:sldLayoutId id="2147483831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6317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11" name="Round Same Side Corner Rectangle 10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1007" y="6018069"/>
            <a:ext cx="1371600" cy="643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817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ound Same Side Corner Rectangle 7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4838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5" r:id="rId5"/>
    <p:sldLayoutId id="2147483666" r:id="rId6"/>
    <p:sldLayoutId id="2147483692" r:id="rId7"/>
    <p:sldLayoutId id="2147483693" r:id="rId8"/>
    <p:sldLayoutId id="2147483664" r:id="rId9"/>
    <p:sldLayoutId id="2147483676" r:id="rId10"/>
    <p:sldLayoutId id="2147483677" r:id="rId11"/>
    <p:sldLayoutId id="2147483675" r:id="rId12"/>
    <p:sldLayoutId id="214748367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7">
          <p15:clr>
            <a:srgbClr val="F26B43"/>
          </p15:clr>
        </p15:guide>
        <p15:guide id="2" pos="34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 Same Side Corner Rectangle 8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Round Same Side Corner Rectangle 9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7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6872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Round Same Side Corner Rectangle 10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hthoek 6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478F02DA-AB65-4DE3-8C32-C1DFFF12922F}" type="slidenum">
              <a:rPr lang="nl-NL" sz="1200" b="0">
                <a:solidFill>
                  <a:schemeClr val="bg1"/>
                </a:solidFill>
                <a:cs typeface="Arial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nl-NL" sz="1200" b="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6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3611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3" r:id="rId2"/>
    <p:sldLayoutId id="2147483667" r:id="rId3"/>
    <p:sldLayoutId id="2147483668" r:id="rId4"/>
    <p:sldLayoutId id="2147483672" r:id="rId5"/>
    <p:sldLayoutId id="2147483669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2062" y="6217577"/>
            <a:ext cx="870240" cy="32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697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737413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" name="think-cell Slide" r:id="rId34" imgW="216" imgH="216" progId="TCLayout.ActiveDocument.1">
                  <p:embed/>
                </p:oleObj>
              </mc:Choice>
              <mc:Fallback>
                <p:oleObj name="think-cell Slide" r:id="rId3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 Same Side Corner Rectangle 7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7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0360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1" r:id="rId27"/>
    <p:sldLayoutId id="2147483742" r:id="rId28"/>
    <p:sldLayoutId id="2147483743" r:id="rId29"/>
    <p:sldLayoutId id="2147483744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 Same Side Corner Rectangle 9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11" name="Round Same Side Corner Rectangle 10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Picture 3" descr="C:\Users\lupmyd1\Desktop\Aegon_TT_log_rgb.jpg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2062" y="6219131"/>
            <a:ext cx="896758" cy="32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5371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2062" y="6217577"/>
            <a:ext cx="870240" cy="323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01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7">
          <p15:clr>
            <a:srgbClr val="F26B43"/>
          </p15:clr>
        </p15:guide>
        <p15:guide id="2" pos="36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/>
          <p:cNvSpPr/>
          <p:nvPr/>
        </p:nvSpPr>
        <p:spPr>
          <a:xfrm rot="16200000">
            <a:off x="9540479" y="-1398985"/>
            <a:ext cx="487364" cy="3285329"/>
          </a:xfrm>
          <a:prstGeom prst="round2SameRect">
            <a:avLst>
              <a:gd name="adj1" fmla="val 4941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9" name="Round Same Side Corner Rectangle 8"/>
          <p:cNvSpPr/>
          <p:nvPr/>
        </p:nvSpPr>
        <p:spPr>
          <a:xfrm rot="5400000">
            <a:off x="11422856" y="-2382"/>
            <a:ext cx="487364" cy="492122"/>
          </a:xfrm>
          <a:prstGeom prst="round2SameRect">
            <a:avLst>
              <a:gd name="adj1" fmla="val 4941"/>
              <a:gd name="adj2" fmla="val 0"/>
            </a:avLst>
          </a:prstGeom>
          <a:solidFill>
            <a:srgbClr val="3395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FFFF"/>
              </a:solidFill>
            </a:endParaRPr>
          </a:p>
        </p:txBody>
      </p:sp>
      <p:sp>
        <p:nvSpPr>
          <p:cNvPr id="4" name="Rechthoek 3"/>
          <p:cNvSpPr/>
          <p:nvPr/>
        </p:nvSpPr>
        <p:spPr>
          <a:xfrm>
            <a:off x="11438863" y="100558"/>
            <a:ext cx="4564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fld id="{478F02DA-AB65-4DE3-8C32-C1DFFF12922F}" type="slidenum">
              <a:rPr lang="nl-NL" sz="1200">
                <a:solidFill>
                  <a:srgbClr val="FFFFFF"/>
                </a:solidFill>
                <a:cs typeface="Arial" pitchFamily="34" charset="0"/>
              </a:rPr>
              <a:pPr algn="ctr">
                <a:defRPr/>
              </a:pPr>
              <a:t>‹#›</a:t>
            </a:fld>
            <a:endParaRPr lang="nl-NL" sz="1200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31" r="8617" b="15326"/>
          <a:stretch/>
        </p:blipFill>
        <p:spPr>
          <a:xfrm>
            <a:off x="10421007" y="6018069"/>
            <a:ext cx="1371600" cy="643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901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07">
          <p15:clr>
            <a:srgbClr val="F26B43"/>
          </p15:clr>
        </p15:guide>
        <p15:guide id="2" pos="34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8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8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19.xml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19.xml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19.xml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Example divider page</a:t>
            </a:r>
            <a:endParaRPr lang="nl-NL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/>
              <a:t>Elektronikus </a:t>
            </a:r>
            <a:r>
              <a:rPr lang="hu-HU" dirty="0" smtClean="0"/>
              <a:t>szerződéskötés</a:t>
            </a:r>
            <a:endParaRPr lang="nl-NL" dirty="0"/>
          </a:p>
        </p:txBody>
      </p:sp>
      <p:pic>
        <p:nvPicPr>
          <p:cNvPr id="10" name="Kép helye 9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9876" b="29876"/>
          <a:stretch>
            <a:fillRect/>
          </a:stretch>
        </p:blipFill>
        <p:spPr/>
      </p:pic>
      <p:sp>
        <p:nvSpPr>
          <p:cNvPr id="11" name="Title 2"/>
          <p:cNvSpPr txBox="1">
            <a:spLocks/>
          </p:cNvSpPr>
          <p:nvPr/>
        </p:nvSpPr>
        <p:spPr>
          <a:xfrm>
            <a:off x="1884362" y="3769360"/>
            <a:ext cx="9873529" cy="1293540"/>
          </a:xfrm>
          <a:prstGeom prst="rect">
            <a:avLst/>
          </a:prstGeom>
        </p:spPr>
        <p:txBody>
          <a:bodyPr lIns="0"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 smtClean="0"/>
              <a:t>Elektronikus szerződésköté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24363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  <a:endParaRPr lang="nl-NL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690241" y="1505607"/>
            <a:ext cx="47296" cy="4611414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42"/>
          <p:cNvSpPr txBox="1"/>
          <p:nvPr/>
        </p:nvSpPr>
        <p:spPr>
          <a:xfrm>
            <a:off x="6641166" y="1567663"/>
            <a:ext cx="520258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rgbClr val="000000"/>
                </a:solidFill>
              </a:rPr>
              <a:t>A</a:t>
            </a:r>
            <a:r>
              <a:rPr lang="hu-HU" sz="2400" b="1" dirty="0" smtClean="0">
                <a:solidFill>
                  <a:srgbClr val="000000"/>
                </a:solidFill>
              </a:rPr>
              <a:t>láírandó dokumentumok:</a:t>
            </a:r>
          </a:p>
          <a:p>
            <a:pPr lvl="1"/>
            <a:endParaRPr lang="en-GB" sz="2000" b="1" dirty="0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hu-HU" sz="2000" b="1" dirty="0"/>
              <a:t>N</a:t>
            </a:r>
            <a:r>
              <a:rPr lang="en-GB" sz="2000" b="1" dirty="0" smtClean="0"/>
              <a:t>y</a:t>
            </a:r>
            <a:r>
              <a:rPr lang="hu-HU" sz="2000" b="1" dirty="0" err="1" smtClean="0"/>
              <a:t>ilatkozatok</a:t>
            </a:r>
            <a:r>
              <a:rPr lang="hu-HU" sz="2000" b="1" dirty="0" smtClean="0"/>
              <a:t> elektronikus szerződéskötéshez (e-nyilatkozat)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endParaRPr lang="hu-HU" sz="2000" b="1" dirty="0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GB" sz="2000" b="1" dirty="0" smtClean="0"/>
              <a:t>OBA </a:t>
            </a:r>
            <a:r>
              <a:rPr lang="en-GB" sz="2000" b="1" dirty="0" err="1" smtClean="0"/>
              <a:t>nyilatkozat</a:t>
            </a:r>
            <a:endParaRPr lang="hu-HU" sz="2000" b="1" dirty="0" smtClean="0"/>
          </a:p>
          <a:p>
            <a:pPr lvl="1"/>
            <a:endParaRPr lang="en-GB" sz="2000" b="1" dirty="0"/>
          </a:p>
          <a:p>
            <a:pPr marL="800100" lvl="1" indent="-342900">
              <a:buFont typeface="Wingdings" panose="05000000000000000000" pitchFamily="2" charset="2"/>
              <a:buChar char="ü"/>
            </a:pPr>
            <a:r>
              <a:rPr lang="en-GB" sz="2000" b="1" dirty="0" err="1"/>
              <a:t>Csoportos</a:t>
            </a:r>
            <a:r>
              <a:rPr lang="en-GB" sz="2000" b="1" dirty="0"/>
              <a:t> </a:t>
            </a:r>
            <a:r>
              <a:rPr lang="en-GB" sz="2000" b="1" dirty="0" err="1"/>
              <a:t>beszedési</a:t>
            </a:r>
            <a:r>
              <a:rPr lang="en-GB" sz="2000" b="1" dirty="0"/>
              <a:t> </a:t>
            </a:r>
            <a:r>
              <a:rPr lang="en-GB" sz="2000" b="1" dirty="0" err="1" smtClean="0"/>
              <a:t>megbízás</a:t>
            </a:r>
            <a:r>
              <a:rPr lang="hu-HU" sz="2000" b="1" dirty="0" smtClean="0"/>
              <a:t> (CSOB)</a:t>
            </a:r>
          </a:p>
          <a:p>
            <a:pPr marL="800100" lvl="1" indent="-342900">
              <a:buFont typeface="Wingdings" panose="05000000000000000000" pitchFamily="2" charset="2"/>
              <a:buChar char="ü"/>
            </a:pPr>
            <a:endParaRPr lang="hu-HU" sz="2000" b="1" dirty="0"/>
          </a:p>
          <a:p>
            <a:pPr marL="800100" lvl="1" indent="-342900">
              <a:buFont typeface="Wingdings" panose="05000000000000000000" pitchFamily="2" charset="2"/>
              <a:buChar char="ü"/>
            </a:pPr>
            <a:endParaRPr lang="hu-HU" sz="2000" b="1" dirty="0"/>
          </a:p>
          <a:p>
            <a:endParaRPr lang="hu-HU" sz="2000" dirty="0" smtClean="0">
              <a:solidFill>
                <a:srgbClr val="000000"/>
              </a:solidFill>
            </a:endParaRPr>
          </a:p>
          <a:p>
            <a:r>
              <a:rPr lang="hu-HU" sz="2000" dirty="0">
                <a:solidFill>
                  <a:srgbClr val="000000"/>
                </a:solidFill>
              </a:rPr>
              <a:t>	</a:t>
            </a:r>
            <a:endParaRPr lang="nl-NL" sz="2000" dirty="0">
              <a:solidFill>
                <a:srgbClr val="000000"/>
              </a:solidFill>
            </a:endParaRPr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74" t="23439" r="48720" b="16932"/>
          <a:stretch/>
        </p:blipFill>
        <p:spPr bwMode="auto">
          <a:xfrm rot="21143142">
            <a:off x="544621" y="1396693"/>
            <a:ext cx="2902467" cy="40893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90" t="12351" r="44895" b="5403"/>
          <a:stretch/>
        </p:blipFill>
        <p:spPr bwMode="auto">
          <a:xfrm>
            <a:off x="1694768" y="2152766"/>
            <a:ext cx="2812323" cy="40893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10" t="23980" r="50895" b="16772"/>
          <a:stretch/>
        </p:blipFill>
        <p:spPr bwMode="auto">
          <a:xfrm rot="889787">
            <a:off x="3102444" y="1513838"/>
            <a:ext cx="2809294" cy="40893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885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 smtClean="0"/>
              <a:t>Elektronikus szerződéskötés</a:t>
            </a:r>
            <a:endParaRPr lang="nl-NL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9737" y="914559"/>
            <a:ext cx="10952481" cy="335597"/>
          </a:xfrm>
        </p:spPr>
        <p:txBody>
          <a:bodyPr/>
          <a:lstStyle/>
          <a:p>
            <a:r>
              <a:rPr lang="hu-HU" dirty="0" smtClean="0"/>
              <a:t>Elektronikus szerződéskötés</a:t>
            </a:r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LTP fejlesztés</a:t>
            </a:r>
            <a:endParaRPr lang="nl-NL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690241" y="1505607"/>
            <a:ext cx="47296" cy="4611414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6534805" y="2385382"/>
            <a:ext cx="40282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dirty="0" smtClean="0">
                <a:solidFill>
                  <a:srgbClr val="000000"/>
                </a:solidFill>
              </a:rPr>
              <a:t>Gyorsabb szerződéskötés</a:t>
            </a:r>
            <a:endParaRPr lang="nl-NL" sz="2000" b="1" dirty="0">
              <a:solidFill>
                <a:srgbClr val="00000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528431" y="3263248"/>
            <a:ext cx="49605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dirty="0" smtClean="0">
                <a:solidFill>
                  <a:srgbClr val="000000"/>
                </a:solidFill>
              </a:rPr>
              <a:t>Csökken a hibázási lehetőség</a:t>
            </a:r>
            <a:endParaRPr lang="nl-NL" sz="2000" dirty="0">
              <a:solidFill>
                <a:srgbClr val="000000"/>
              </a:solidFill>
            </a:endParaRPr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1167" y="3951854"/>
            <a:ext cx="812674" cy="804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TextBox 42"/>
          <p:cNvSpPr txBox="1"/>
          <p:nvPr/>
        </p:nvSpPr>
        <p:spPr>
          <a:xfrm>
            <a:off x="6524825" y="4171043"/>
            <a:ext cx="49605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dirty="0" smtClean="0">
                <a:solidFill>
                  <a:srgbClr val="000000"/>
                </a:solidFill>
              </a:rPr>
              <a:t>Gyorsabb </a:t>
            </a:r>
            <a:r>
              <a:rPr lang="hu-HU" sz="2000" dirty="0" err="1" smtClean="0">
                <a:solidFill>
                  <a:srgbClr val="000000"/>
                </a:solidFill>
              </a:rPr>
              <a:t>ajánlatfeldolgozás</a:t>
            </a:r>
            <a:endParaRPr lang="nl-NL" sz="2000" dirty="0">
              <a:solidFill>
                <a:srgbClr val="000000"/>
              </a:solidFill>
            </a:endParaRPr>
          </a:p>
        </p:txBody>
      </p:sp>
      <p:grpSp>
        <p:nvGrpSpPr>
          <p:cNvPr id="42" name="Csoportba foglalás 41"/>
          <p:cNvGrpSpPr/>
          <p:nvPr/>
        </p:nvGrpSpPr>
        <p:grpSpPr>
          <a:xfrm>
            <a:off x="5455025" y="3056423"/>
            <a:ext cx="789566" cy="789566"/>
            <a:chOff x="5434816" y="2491916"/>
            <a:chExt cx="640080" cy="640080"/>
          </a:xfrm>
        </p:grpSpPr>
        <p:sp>
          <p:nvSpPr>
            <p:cNvPr id="44" name="Oval 11"/>
            <p:cNvSpPr/>
            <p:nvPr/>
          </p:nvSpPr>
          <p:spPr>
            <a:xfrm>
              <a:off x="5434816" y="2491916"/>
              <a:ext cx="640080" cy="6400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>
                <a:solidFill>
                  <a:srgbClr val="FFFFFF"/>
                </a:solidFill>
              </a:endParaRPr>
            </a:p>
          </p:txBody>
        </p:sp>
        <p:pic>
          <p:nvPicPr>
            <p:cNvPr id="45" name="Kép 44"/>
            <p:cNvPicPr>
              <a:picLocks noChangeAspect="1"/>
            </p:cNvPicPr>
            <p:nvPr/>
          </p:nvPicPr>
          <p:blipFill>
            <a:blip r:embed="rId4" cstate="email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35776" y="2592901"/>
              <a:ext cx="438160" cy="386743"/>
            </a:xfrm>
            <a:prstGeom prst="rect">
              <a:avLst/>
            </a:prstGeom>
          </p:spPr>
        </p:pic>
      </p:grp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9056" y="2172476"/>
            <a:ext cx="803059" cy="803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Kép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70791">
            <a:off x="700750" y="1549016"/>
            <a:ext cx="3162628" cy="44201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Kép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21780">
            <a:off x="1453770" y="2655713"/>
            <a:ext cx="2540837" cy="35511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0232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/>
          <p:cNvSpPr>
            <a:spLocks noGrp="1"/>
          </p:cNvSpPr>
          <p:nvPr>
            <p:ph type="body" sz="quarter" idx="13"/>
          </p:nvPr>
        </p:nvSpPr>
        <p:spPr>
          <a:xfrm>
            <a:off x="6619065" y="1999529"/>
            <a:ext cx="5181508" cy="3717880"/>
          </a:xfrm>
        </p:spPr>
        <p:txBody>
          <a:bodyPr/>
          <a:lstStyle/>
          <a:p>
            <a:r>
              <a:rPr lang="hu-HU" sz="2000" dirty="0" smtClean="0"/>
              <a:t>A tanácsadói </a:t>
            </a:r>
            <a:r>
              <a:rPr lang="hu-HU" sz="2000" dirty="0"/>
              <a:t>felületen </a:t>
            </a:r>
            <a:r>
              <a:rPr lang="hu-HU" sz="2000" dirty="0" smtClean="0"/>
              <a:t>új </a:t>
            </a:r>
            <a:r>
              <a:rPr lang="hu-HU" sz="2000" dirty="0"/>
              <a:t>választólista mező, amelyben </a:t>
            </a:r>
            <a:r>
              <a:rPr lang="hu-HU" sz="2000" dirty="0" smtClean="0"/>
              <a:t>a ügynökkód mellett meg </a:t>
            </a:r>
            <a:r>
              <a:rPr lang="hu-HU" sz="2000" dirty="0"/>
              <a:t>kell adni, hogy </a:t>
            </a:r>
            <a:r>
              <a:rPr lang="hu-HU" sz="2000" dirty="0" smtClean="0"/>
              <a:t>hagyományosan vagy </a:t>
            </a:r>
            <a:r>
              <a:rPr lang="hu-HU" sz="2000" dirty="0"/>
              <a:t>e-nyilatkozattal szeretnénk-e szerződést </a:t>
            </a:r>
            <a:r>
              <a:rPr lang="hu-HU" sz="2000" dirty="0" smtClean="0"/>
              <a:t>kötni.</a:t>
            </a:r>
            <a:endParaRPr lang="hu-HU" sz="2000" dirty="0"/>
          </a:p>
          <a:p>
            <a:r>
              <a:rPr lang="hu-HU" sz="2000" dirty="0"/>
              <a:t>A választólistában az </a:t>
            </a:r>
            <a:r>
              <a:rPr lang="hu-HU" sz="2000" b="1" dirty="0">
                <a:solidFill>
                  <a:srgbClr val="FF0000"/>
                </a:solidFill>
              </a:rPr>
              <a:t>„Igen</a:t>
            </a:r>
            <a:r>
              <a:rPr lang="hu-HU" sz="2000" dirty="0">
                <a:solidFill>
                  <a:srgbClr val="FF0000"/>
                </a:solidFill>
              </a:rPr>
              <a:t>” </a:t>
            </a:r>
            <a:r>
              <a:rPr lang="hu-HU" sz="2000" dirty="0"/>
              <a:t>opciót kell kiválasztani. A kiválasztást követően meg kell adni az esetleges akciós kódot, a havi megtakarítási összeget és a futamidőt</a:t>
            </a:r>
            <a:r>
              <a:rPr lang="hu-HU" sz="2000" dirty="0" smtClean="0"/>
              <a:t>. Online felületen csak a </a:t>
            </a:r>
            <a:r>
              <a:rPr lang="hu-HU" sz="2000" b="1" dirty="0" smtClean="0">
                <a:solidFill>
                  <a:srgbClr val="0070C0"/>
                </a:solidFill>
              </a:rPr>
              <a:t>Kamat Fix Plusz</a:t>
            </a:r>
            <a:r>
              <a:rPr lang="hu-HU" sz="2000" dirty="0" smtClean="0"/>
              <a:t> termékcsalád értékesíthető!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  <a:endParaRPr lang="nl-NL" dirty="0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Kalkulátor</a:t>
            </a:r>
            <a:endParaRPr lang="hu-HU" dirty="0"/>
          </a:p>
        </p:txBody>
      </p:sp>
      <p:sp>
        <p:nvSpPr>
          <p:cNvPr id="6" name="Cím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</a:p>
        </p:txBody>
      </p:sp>
      <p:pic>
        <p:nvPicPr>
          <p:cNvPr id="7" name="Picture 3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48" y="1189457"/>
            <a:ext cx="5988443" cy="5152682"/>
          </a:xfrm>
          <a:prstGeom prst="rect">
            <a:avLst/>
          </a:prstGeom>
        </p:spPr>
      </p:pic>
      <p:sp>
        <p:nvSpPr>
          <p:cNvPr id="15" name="Isosceles Triangle 1"/>
          <p:cNvSpPr/>
          <p:nvPr/>
        </p:nvSpPr>
        <p:spPr>
          <a:xfrm rot="5400000">
            <a:off x="5425415" y="3257726"/>
            <a:ext cx="1332474" cy="41426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125" name="Kép 1" descr="image00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3" t="12782" r="13864" b="26415"/>
          <a:stretch/>
        </p:blipFill>
        <p:spPr bwMode="auto">
          <a:xfrm>
            <a:off x="879201" y="2117089"/>
            <a:ext cx="4371263" cy="2796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Ellipszis 16"/>
          <p:cNvSpPr/>
          <p:nvPr/>
        </p:nvSpPr>
        <p:spPr>
          <a:xfrm>
            <a:off x="979055" y="2657010"/>
            <a:ext cx="3775825" cy="432699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8" name="Szövegdoboz 7"/>
          <p:cNvSpPr txBox="1"/>
          <p:nvPr/>
        </p:nvSpPr>
        <p:spPr>
          <a:xfrm>
            <a:off x="529391" y="1395661"/>
            <a:ext cx="8258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/>
              <a:t>http://www.aegonlakastakarek.hu/lakastakarek-kalkulator?mcp=1</a:t>
            </a:r>
          </a:p>
        </p:txBody>
      </p:sp>
    </p:spTree>
    <p:extLst>
      <p:ext uri="{BB962C8B-B14F-4D97-AF65-F5344CB8AC3E}">
        <p14:creationId xmlns:p14="http://schemas.microsoft.com/office/powerpoint/2010/main" val="1255139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/>
          <p:cNvSpPr>
            <a:spLocks noGrp="1"/>
          </p:cNvSpPr>
          <p:nvPr>
            <p:ph type="body" sz="quarter" idx="13"/>
          </p:nvPr>
        </p:nvSpPr>
        <p:spPr>
          <a:xfrm>
            <a:off x="6437745" y="1874964"/>
            <a:ext cx="5440219" cy="4590477"/>
          </a:xfrm>
        </p:spPr>
        <p:txBody>
          <a:bodyPr/>
          <a:lstStyle/>
          <a:p>
            <a:r>
              <a:rPr lang="hu-HU" sz="2000" dirty="0" smtClean="0"/>
              <a:t>A </a:t>
            </a:r>
            <a:r>
              <a:rPr lang="hu-HU" sz="2000" dirty="0"/>
              <a:t>megtakarítási adatok megadását </a:t>
            </a:r>
            <a:r>
              <a:rPr lang="hu-HU" sz="2000" dirty="0" smtClean="0"/>
              <a:t>követően </a:t>
            </a:r>
            <a:r>
              <a:rPr lang="hu-HU" sz="2000" dirty="0"/>
              <a:t>az alábbi gomb fog megjelenni az oldal </a:t>
            </a:r>
            <a:r>
              <a:rPr lang="hu-HU" sz="2000" dirty="0" smtClean="0"/>
              <a:t>alján:</a:t>
            </a:r>
          </a:p>
          <a:p>
            <a:endParaRPr lang="hu-HU" sz="2000" dirty="0"/>
          </a:p>
          <a:p>
            <a:endParaRPr lang="hu-HU" sz="2000" dirty="0" smtClean="0"/>
          </a:p>
          <a:p>
            <a:endParaRPr lang="hu-HU" sz="2000" dirty="0"/>
          </a:p>
          <a:p>
            <a:pPr marL="0" indent="0">
              <a:buNone/>
            </a:pPr>
            <a:endParaRPr lang="hu-HU" sz="2000" dirty="0"/>
          </a:p>
          <a:p>
            <a:r>
              <a:rPr lang="hu-HU" sz="2000" dirty="0" smtClean="0"/>
              <a:t>Itt </a:t>
            </a:r>
            <a:r>
              <a:rPr lang="hu-HU" sz="2000" dirty="0"/>
              <a:t>a </a:t>
            </a:r>
            <a:r>
              <a:rPr lang="hu-HU" sz="2000" b="1" dirty="0">
                <a:solidFill>
                  <a:srgbClr val="FF0000"/>
                </a:solidFill>
              </a:rPr>
              <a:t>„Tovább az elektronikus ajánlatkészítéshez</a:t>
            </a:r>
            <a:r>
              <a:rPr lang="hu-HU" sz="2000" dirty="0">
                <a:solidFill>
                  <a:srgbClr val="FF0000"/>
                </a:solidFill>
              </a:rPr>
              <a:t>” </a:t>
            </a:r>
            <a:r>
              <a:rPr lang="hu-HU" sz="2000" dirty="0"/>
              <a:t>gombot kell megnyomni.</a:t>
            </a:r>
          </a:p>
          <a:p>
            <a:endParaRPr lang="hu-HU" sz="2000" dirty="0"/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  <a:endParaRPr lang="nl-NL" dirty="0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Kalkulátor</a:t>
            </a:r>
            <a:endParaRPr lang="hu-HU" dirty="0"/>
          </a:p>
        </p:txBody>
      </p:sp>
      <p:sp>
        <p:nvSpPr>
          <p:cNvPr id="6" name="Cím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</a:p>
        </p:txBody>
      </p:sp>
      <p:pic>
        <p:nvPicPr>
          <p:cNvPr id="7" name="Picture 3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48" y="1189457"/>
            <a:ext cx="5988443" cy="5152682"/>
          </a:xfrm>
          <a:prstGeom prst="rect">
            <a:avLst/>
          </a:prstGeom>
        </p:spPr>
      </p:pic>
      <p:sp>
        <p:nvSpPr>
          <p:cNvPr id="15" name="Isosceles Triangle 1"/>
          <p:cNvSpPr/>
          <p:nvPr/>
        </p:nvSpPr>
        <p:spPr>
          <a:xfrm rot="5400000">
            <a:off x="5425415" y="3257726"/>
            <a:ext cx="1332474" cy="41426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6" name="Kép 15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170" t="9337"/>
          <a:stretch/>
        </p:blipFill>
        <p:spPr bwMode="auto">
          <a:xfrm>
            <a:off x="7433970" y="3043203"/>
            <a:ext cx="2393519" cy="843314"/>
          </a:xfrm>
          <a:prstGeom prst="rect">
            <a:avLst/>
          </a:prstGeom>
          <a:ln>
            <a:solidFill>
              <a:srgbClr val="3395D3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146" name="Kép 2" descr="image00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1" t="5276" r="13687" b="23293"/>
          <a:stretch/>
        </p:blipFill>
        <p:spPr bwMode="auto">
          <a:xfrm>
            <a:off x="877452" y="2107012"/>
            <a:ext cx="4341090" cy="2834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Ellipszis 12"/>
          <p:cNvSpPr/>
          <p:nvPr/>
        </p:nvSpPr>
        <p:spPr>
          <a:xfrm>
            <a:off x="3177308" y="4294909"/>
            <a:ext cx="2405663" cy="646567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99266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  <a:endParaRPr lang="nl-NL" dirty="0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Szerződő adatai</a:t>
            </a:r>
            <a:endParaRPr lang="hu-HU" dirty="0"/>
          </a:p>
        </p:txBody>
      </p:sp>
      <p:sp>
        <p:nvSpPr>
          <p:cNvPr id="6" name="Cím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</a:p>
        </p:txBody>
      </p:sp>
      <p:pic>
        <p:nvPicPr>
          <p:cNvPr id="7" name="Picture 3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48" y="1189457"/>
            <a:ext cx="5988443" cy="5152682"/>
          </a:xfrm>
          <a:prstGeom prst="rect">
            <a:avLst/>
          </a:prstGeom>
        </p:spPr>
      </p:pic>
      <p:sp>
        <p:nvSpPr>
          <p:cNvPr id="15" name="Isosceles Triangle 1"/>
          <p:cNvSpPr/>
          <p:nvPr/>
        </p:nvSpPr>
        <p:spPr>
          <a:xfrm rot="5400000">
            <a:off x="5425415" y="3257726"/>
            <a:ext cx="1332474" cy="41426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170" name="Kép 3" descr="image00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93" t="27990" r="14539" b="28676"/>
          <a:stretch/>
        </p:blipFill>
        <p:spPr bwMode="auto">
          <a:xfrm>
            <a:off x="852722" y="2149313"/>
            <a:ext cx="4402767" cy="2699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Szöveg helye 1"/>
          <p:cNvSpPr txBox="1">
            <a:spLocks/>
          </p:cNvSpPr>
          <p:nvPr/>
        </p:nvSpPr>
        <p:spPr>
          <a:xfrm>
            <a:off x="6564426" y="1947077"/>
            <a:ext cx="5043637" cy="178517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Calibri" panose="020F0502020204030204" pitchFamily="34" charset="0"/>
              <a:buChar char="-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2000" dirty="0" smtClean="0"/>
              <a:t>A szerződő adatainak megadása, és a </a:t>
            </a:r>
            <a:r>
              <a:rPr lang="hu-HU" sz="2000" b="1" dirty="0" smtClean="0">
                <a:solidFill>
                  <a:srgbClr val="FF0000"/>
                </a:solidFill>
              </a:rPr>
              <a:t>„Dokumentumok </a:t>
            </a:r>
            <a:r>
              <a:rPr lang="hu-HU" sz="2000" dirty="0" smtClean="0"/>
              <a:t>küldése” gomb megnyomását követően kiküldésre kerül az ügyfél részére az üzletszabályzat és az adatkezelési szabályzat:</a:t>
            </a:r>
          </a:p>
          <a:p>
            <a:endParaRPr lang="hu-HU" sz="2000" dirty="0" smtClean="0"/>
          </a:p>
          <a:p>
            <a:endParaRPr lang="hu-HU" sz="2000" dirty="0" smtClean="0"/>
          </a:p>
          <a:p>
            <a:endParaRPr lang="hu-HU" sz="2000" dirty="0" smtClean="0"/>
          </a:p>
          <a:p>
            <a:pPr marL="0" indent="0">
              <a:buNone/>
            </a:pPr>
            <a:endParaRPr lang="hu-HU" sz="2000" dirty="0" smtClean="0"/>
          </a:p>
          <a:p>
            <a:endParaRPr lang="hu-HU" sz="2000" dirty="0" smtClean="0"/>
          </a:p>
          <a:p>
            <a:endParaRPr lang="hu-HU" sz="2000" dirty="0"/>
          </a:p>
        </p:txBody>
      </p:sp>
      <p:pic>
        <p:nvPicPr>
          <p:cNvPr id="17" name="Kép 16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9479" y="3652746"/>
            <a:ext cx="3752947" cy="1536332"/>
          </a:xfrm>
          <a:prstGeom prst="rect">
            <a:avLst/>
          </a:prstGeom>
          <a:ln>
            <a:solidFill>
              <a:srgbClr val="3395D3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Ellipszis 17"/>
          <p:cNvSpPr/>
          <p:nvPr/>
        </p:nvSpPr>
        <p:spPr>
          <a:xfrm>
            <a:off x="3103420" y="4045537"/>
            <a:ext cx="2405663" cy="646567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3553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  <a:endParaRPr lang="nl-NL" dirty="0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Szerződő adatai</a:t>
            </a:r>
            <a:endParaRPr lang="hu-HU" dirty="0"/>
          </a:p>
        </p:txBody>
      </p:sp>
      <p:sp>
        <p:nvSpPr>
          <p:cNvPr id="6" name="Cím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</a:p>
        </p:txBody>
      </p:sp>
      <p:pic>
        <p:nvPicPr>
          <p:cNvPr id="7" name="Picture 3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48" y="1189457"/>
            <a:ext cx="5988443" cy="5152682"/>
          </a:xfrm>
          <a:prstGeom prst="rect">
            <a:avLst/>
          </a:prstGeom>
        </p:spPr>
      </p:pic>
      <p:sp>
        <p:nvSpPr>
          <p:cNvPr id="15" name="Isosceles Triangle 1"/>
          <p:cNvSpPr/>
          <p:nvPr/>
        </p:nvSpPr>
        <p:spPr>
          <a:xfrm rot="5400000">
            <a:off x="5425415" y="3257726"/>
            <a:ext cx="1332474" cy="41426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Szöveg helye 1"/>
          <p:cNvSpPr txBox="1">
            <a:spLocks/>
          </p:cNvSpPr>
          <p:nvPr/>
        </p:nvSpPr>
        <p:spPr>
          <a:xfrm>
            <a:off x="6400800" y="1841201"/>
            <a:ext cx="5072513" cy="288478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Calibri" panose="020F0502020204030204" pitchFamily="34" charset="0"/>
              <a:buChar char="-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hu-HU" sz="2000" dirty="0" smtClean="0"/>
          </a:p>
          <a:p>
            <a:r>
              <a:rPr lang="hu-HU" sz="2000" dirty="0" smtClean="0"/>
              <a:t>Ezt követően a szerződéskötési felület az utolsó oldalig megegyezik az eddig is használt szerződéskötési felülettel, azzal a különbséggel, hogy a dokumentumok kiküldéséhez megadott telefonszámot és e-mail címet a továbbiakban nem kérjük be még egyszer, hanem az ott megadott adatok kerülnek a szerződésre.</a:t>
            </a:r>
          </a:p>
          <a:p>
            <a:endParaRPr lang="hu-HU" sz="2000" dirty="0" smtClean="0"/>
          </a:p>
          <a:p>
            <a:endParaRPr lang="hu-HU" sz="2000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58" t="21894" r="36526" b="25895"/>
          <a:stretch/>
        </p:blipFill>
        <p:spPr bwMode="auto">
          <a:xfrm>
            <a:off x="856649" y="2158060"/>
            <a:ext cx="4392730" cy="2779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5969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  <a:endParaRPr lang="nl-NL" dirty="0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Nyilatkozatok</a:t>
            </a:r>
            <a:endParaRPr lang="hu-HU" dirty="0"/>
          </a:p>
        </p:txBody>
      </p:sp>
      <p:sp>
        <p:nvSpPr>
          <p:cNvPr id="6" name="Cím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</a:p>
        </p:txBody>
      </p:sp>
      <p:pic>
        <p:nvPicPr>
          <p:cNvPr id="7" name="Picture 3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48" y="1189457"/>
            <a:ext cx="5988443" cy="5152682"/>
          </a:xfrm>
          <a:prstGeom prst="rect">
            <a:avLst/>
          </a:prstGeom>
        </p:spPr>
      </p:pic>
      <p:sp>
        <p:nvSpPr>
          <p:cNvPr id="15" name="Isosceles Triangle 1"/>
          <p:cNvSpPr/>
          <p:nvPr/>
        </p:nvSpPr>
        <p:spPr>
          <a:xfrm rot="5400000">
            <a:off x="5425415" y="3257726"/>
            <a:ext cx="1332474" cy="41426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Szöveg helye 1"/>
          <p:cNvSpPr>
            <a:spLocks noGrp="1"/>
          </p:cNvSpPr>
          <p:nvPr>
            <p:ph type="body" sz="quarter" idx="13"/>
          </p:nvPr>
        </p:nvSpPr>
        <p:spPr>
          <a:xfrm>
            <a:off x="6468172" y="1965240"/>
            <a:ext cx="5236148" cy="4068762"/>
          </a:xfrm>
        </p:spPr>
        <p:txBody>
          <a:bodyPr/>
          <a:lstStyle/>
          <a:p>
            <a:r>
              <a:rPr lang="hu-HU" sz="2000" dirty="0"/>
              <a:t>Az utolsó oldalon a hagyományos szerződéskötési oldallal ellentétben már csak két nyilatkozatot lehet </a:t>
            </a:r>
            <a:r>
              <a:rPr lang="hu-HU" sz="2000" dirty="0" smtClean="0"/>
              <a:t>tenni.</a:t>
            </a:r>
          </a:p>
          <a:p>
            <a:r>
              <a:rPr lang="hu-HU" sz="2000" dirty="0"/>
              <a:t>Ne felejtsd el bejelölni a „Kitöltöm az e-nyilatkozatot</a:t>
            </a:r>
            <a:r>
              <a:rPr lang="hu-HU" sz="2000" dirty="0" smtClean="0"/>
              <a:t>”!</a:t>
            </a:r>
          </a:p>
          <a:p>
            <a:r>
              <a:rPr lang="hu-HU" sz="2000" dirty="0"/>
              <a:t>A </a:t>
            </a:r>
            <a:r>
              <a:rPr lang="hu-HU" sz="2000" b="1" dirty="0">
                <a:solidFill>
                  <a:srgbClr val="FF0000"/>
                </a:solidFill>
              </a:rPr>
              <a:t>„Befejezés” </a:t>
            </a:r>
            <a:r>
              <a:rPr lang="hu-HU" sz="2000" dirty="0"/>
              <a:t>gombra kattintva az adatok elmentődnek, az ügyfél részére e-mailben kiküldésre kerül az ajánlati nyomtatvány, melyhez minden adattal kitöltve csatolásra kerül a függőügynöki nyilatkozat is</a:t>
            </a:r>
            <a:r>
              <a:rPr lang="hu-HU" sz="2000" dirty="0" smtClean="0"/>
              <a:t>. </a:t>
            </a:r>
          </a:p>
          <a:p>
            <a:endParaRPr lang="hu-HU" sz="2000" dirty="0"/>
          </a:p>
        </p:txBody>
      </p:sp>
      <p:pic>
        <p:nvPicPr>
          <p:cNvPr id="14" name="Kép 13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8" t="33714" r="1548"/>
          <a:stretch/>
        </p:blipFill>
        <p:spPr bwMode="auto">
          <a:xfrm>
            <a:off x="858981" y="2115144"/>
            <a:ext cx="4396510" cy="2826311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Ellipszis 15"/>
          <p:cNvSpPr/>
          <p:nvPr/>
        </p:nvSpPr>
        <p:spPr>
          <a:xfrm>
            <a:off x="434129" y="4066996"/>
            <a:ext cx="2328322" cy="543504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Ellipszis 12"/>
          <p:cNvSpPr/>
          <p:nvPr/>
        </p:nvSpPr>
        <p:spPr>
          <a:xfrm>
            <a:off x="548636" y="2798623"/>
            <a:ext cx="1768356" cy="1166432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97590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  <a:endParaRPr lang="nl-NL" dirty="0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Nyilatkozatok</a:t>
            </a:r>
            <a:endParaRPr lang="hu-HU" dirty="0"/>
          </a:p>
        </p:txBody>
      </p:sp>
      <p:sp>
        <p:nvSpPr>
          <p:cNvPr id="6" name="Cím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</a:p>
        </p:txBody>
      </p:sp>
      <p:pic>
        <p:nvPicPr>
          <p:cNvPr id="7" name="Picture 3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48" y="1189457"/>
            <a:ext cx="5988443" cy="5152682"/>
          </a:xfrm>
          <a:prstGeom prst="rect">
            <a:avLst/>
          </a:prstGeom>
        </p:spPr>
      </p:pic>
      <p:sp>
        <p:nvSpPr>
          <p:cNvPr id="15" name="Isosceles Triangle 1"/>
          <p:cNvSpPr/>
          <p:nvPr/>
        </p:nvSpPr>
        <p:spPr>
          <a:xfrm rot="5400000">
            <a:off x="5425415" y="3257726"/>
            <a:ext cx="1332474" cy="41426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Szöveg helye 1"/>
          <p:cNvSpPr>
            <a:spLocks noGrp="1"/>
          </p:cNvSpPr>
          <p:nvPr>
            <p:ph type="body" sz="quarter" idx="13"/>
          </p:nvPr>
        </p:nvSpPr>
        <p:spPr>
          <a:xfrm>
            <a:off x="6400796" y="2056568"/>
            <a:ext cx="5669283" cy="1129362"/>
          </a:xfrm>
        </p:spPr>
        <p:txBody>
          <a:bodyPr/>
          <a:lstStyle/>
          <a:p>
            <a:r>
              <a:rPr lang="hu-HU" sz="2000" dirty="0" smtClean="0"/>
              <a:t>Az </a:t>
            </a:r>
            <a:r>
              <a:rPr lang="hu-HU" sz="2000" dirty="0"/>
              <a:t>ajánlati nyomtatványt, </a:t>
            </a:r>
            <a:r>
              <a:rPr lang="hu-HU" sz="2000" dirty="0" smtClean="0"/>
              <a:t>titkosítva kerül kiküldésre, melyet az </a:t>
            </a:r>
            <a:r>
              <a:rPr lang="hu-HU" sz="2000" dirty="0"/>
              <a:t>ügyfél az adóazonosító jelével </a:t>
            </a:r>
            <a:r>
              <a:rPr lang="hu-HU" sz="2000" dirty="0" smtClean="0"/>
              <a:t>tud megnyitni.</a:t>
            </a:r>
            <a:endParaRPr lang="hu-HU" sz="2000" dirty="0"/>
          </a:p>
          <a:p>
            <a:endParaRPr lang="hu-HU" sz="2000" dirty="0"/>
          </a:p>
        </p:txBody>
      </p:sp>
      <p:pic>
        <p:nvPicPr>
          <p:cNvPr id="12" name="Kép 1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7606" y="3143542"/>
            <a:ext cx="4156949" cy="1975109"/>
          </a:xfrm>
          <a:prstGeom prst="rect">
            <a:avLst/>
          </a:prstGeom>
          <a:ln>
            <a:solidFill>
              <a:srgbClr val="3395D3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Kép 13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8" t="33714" r="1548"/>
          <a:stretch/>
        </p:blipFill>
        <p:spPr bwMode="auto">
          <a:xfrm>
            <a:off x="858981" y="2115144"/>
            <a:ext cx="4396510" cy="2826311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Ellipszis 15"/>
          <p:cNvSpPr/>
          <p:nvPr/>
        </p:nvSpPr>
        <p:spPr>
          <a:xfrm>
            <a:off x="434129" y="4066996"/>
            <a:ext cx="2328322" cy="543504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Ellipszis 12"/>
          <p:cNvSpPr/>
          <p:nvPr/>
        </p:nvSpPr>
        <p:spPr>
          <a:xfrm>
            <a:off x="548636" y="2798623"/>
            <a:ext cx="1768356" cy="1166432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34559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 helye 1"/>
          <p:cNvSpPr>
            <a:spLocks noGrp="1"/>
          </p:cNvSpPr>
          <p:nvPr>
            <p:ph type="body" sz="quarter" idx="13"/>
          </p:nvPr>
        </p:nvSpPr>
        <p:spPr>
          <a:xfrm>
            <a:off x="6609440" y="2201654"/>
            <a:ext cx="5133377" cy="2610982"/>
          </a:xfrm>
        </p:spPr>
        <p:txBody>
          <a:bodyPr/>
          <a:lstStyle/>
          <a:p>
            <a:r>
              <a:rPr lang="hu-HU" sz="2000" dirty="0" smtClean="0"/>
              <a:t>Az OBA, CSOB és az e-nyilatkozat kitöltéséhez szükséges ajánlatszám a „Befejezés” gombra kattintás után feljövő felületen látható.</a:t>
            </a:r>
          </a:p>
          <a:p>
            <a:r>
              <a:rPr lang="hu-HU" sz="2000" dirty="0" smtClean="0"/>
              <a:t>Az itt megnyitható </a:t>
            </a:r>
            <a:r>
              <a:rPr lang="hu-HU" sz="2000" dirty="0" err="1" smtClean="0"/>
              <a:t>pdf</a:t>
            </a:r>
            <a:r>
              <a:rPr lang="hu-HU" sz="2000" dirty="0" smtClean="0"/>
              <a:t>. formátumú ajánlatból lehet visszaellenőrizni, hogy jól vittük-e fel az ügyfél adatait.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  <a:endParaRPr lang="nl-NL" dirty="0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Ajánlatszám</a:t>
            </a:r>
            <a:endParaRPr lang="hu-HU" dirty="0"/>
          </a:p>
        </p:txBody>
      </p:sp>
      <p:sp>
        <p:nvSpPr>
          <p:cNvPr id="6" name="Cím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Elektronikus szerződéskötés</a:t>
            </a:r>
          </a:p>
        </p:txBody>
      </p:sp>
      <p:pic>
        <p:nvPicPr>
          <p:cNvPr id="7" name="Picture 3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848" y="1189457"/>
            <a:ext cx="5988443" cy="5152682"/>
          </a:xfrm>
          <a:prstGeom prst="rect">
            <a:avLst/>
          </a:prstGeom>
        </p:spPr>
      </p:pic>
      <p:sp>
        <p:nvSpPr>
          <p:cNvPr id="15" name="Isosceles Triangle 1"/>
          <p:cNvSpPr/>
          <p:nvPr/>
        </p:nvSpPr>
        <p:spPr>
          <a:xfrm rot="5400000">
            <a:off x="5425415" y="3257726"/>
            <a:ext cx="1332474" cy="41426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122" name="Kép 1" descr="image00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18" t="10027" r="24683" b="3818"/>
          <a:stretch/>
        </p:blipFill>
        <p:spPr bwMode="auto">
          <a:xfrm>
            <a:off x="850900" y="2148114"/>
            <a:ext cx="4403271" cy="2739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Ellipszis 16"/>
          <p:cNvSpPr/>
          <p:nvPr/>
        </p:nvSpPr>
        <p:spPr>
          <a:xfrm>
            <a:off x="381010" y="3138234"/>
            <a:ext cx="2693059" cy="350934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872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genda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Aegon Group Template 2016" id="{38AED903-669A-49C7-8B10-863019E40CC8}" vid="{4B46E5A1-2807-432E-BFCC-255B7B885375}"/>
    </a:ext>
  </a:extLst>
</a:theme>
</file>

<file path=ppt/theme/theme10.xml><?xml version="1.0" encoding="utf-8"?>
<a:theme xmlns:a="http://schemas.openxmlformats.org/drawingml/2006/main" name="2_Varia slides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Aegon Group Template 2016" id="{38AED903-669A-49C7-8B10-863019E40CC8}" vid="{0714EC46-90C3-47EF-BE07-EF710E81C253}"/>
    </a:ext>
  </a:extLst>
</a:theme>
</file>

<file path=ppt/theme/theme11.xml><?xml version="1.0" encoding="utf-8"?>
<a:theme xmlns:a="http://schemas.openxmlformats.org/drawingml/2006/main" name="5_Text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Aegon Group Template 2016" id="{38AED903-669A-49C7-8B10-863019E40CC8}" vid="{C990B685-2A8C-4A15-B8B6-E39D4ED9C7DA}"/>
    </a:ext>
  </a:extLst>
</a:theme>
</file>

<file path=ppt/theme/theme12.xml><?xml version="1.0" encoding="utf-8"?>
<a:theme xmlns:a="http://schemas.openxmlformats.org/drawingml/2006/main" name="3_Varia slides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Aegon Group Template 2016" id="{38AED903-669A-49C7-8B10-863019E40CC8}" vid="{0714EC46-90C3-47EF-BE07-EF710E81C253}"/>
    </a:ext>
  </a:extLst>
</a:theme>
</file>

<file path=ppt/theme/theme13.xml><?xml version="1.0" encoding="utf-8"?>
<a:theme xmlns:a="http://schemas.openxmlformats.org/drawingml/2006/main" name="4_Varia slides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Aegon Group Template 2016" id="{38AED903-669A-49C7-8B10-863019E40CC8}" vid="{0714EC46-90C3-47EF-BE07-EF710E81C253}"/>
    </a:ext>
  </a:extLst>
</a:theme>
</file>

<file path=ppt/theme/theme14.xml><?xml version="1.0" encoding="utf-8"?>
<a:theme xmlns:a="http://schemas.openxmlformats.org/drawingml/2006/main" name="3_Aegon Group Template 2016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Aegon Group Template 2016" id="{38AED903-669A-49C7-8B10-863019E40CC8}" vid="{0F2F5FA0-A5AA-4061-BEF2-A68E4ED90074}"/>
    </a:ext>
  </a:extLst>
</a:theme>
</file>

<file path=ppt/theme/theme15.xml><?xml version="1.0" encoding="utf-8"?>
<a:theme xmlns:a="http://schemas.openxmlformats.org/drawingml/2006/main" name="5_Varia slides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Aegon Group Template 2016" id="{38AED903-669A-49C7-8B10-863019E40CC8}" vid="{0714EC46-90C3-47EF-BE07-EF710E81C253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xt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Aegon Group Template 2016" id="{38AED903-669A-49C7-8B10-863019E40CC8}" vid="{C990B685-2A8C-4A15-B8B6-E39D4ED9C7DA}"/>
    </a:ext>
  </a:extLst>
</a:theme>
</file>

<file path=ppt/theme/theme3.xml><?xml version="1.0" encoding="utf-8"?>
<a:theme xmlns:a="http://schemas.openxmlformats.org/drawingml/2006/main" name="Text dual branded slides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Aegon Group Template 2016" id="{38AED903-669A-49C7-8B10-863019E40CC8}" vid="{45A9AAC3-843D-4A2A-850A-C6E3783807F0}"/>
    </a:ext>
  </a:extLst>
</a:theme>
</file>

<file path=ppt/theme/theme4.xml><?xml version="1.0" encoding="utf-8"?>
<a:theme xmlns:a="http://schemas.openxmlformats.org/drawingml/2006/main" name="Varia slides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Aegon Group Template 2016" id="{38AED903-669A-49C7-8B10-863019E40CC8}" vid="{0714EC46-90C3-47EF-BE07-EF710E81C253}"/>
    </a:ext>
  </a:extLst>
</a:theme>
</file>

<file path=ppt/theme/theme5.xml><?xml version="1.0" encoding="utf-8"?>
<a:theme xmlns:a="http://schemas.openxmlformats.org/drawingml/2006/main" name="1_Text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Aegon Group_template03" id="{1609A097-B786-4B7B-988D-088609B62477}" vid="{163717FE-06F0-482A-9741-60041DA0634A}"/>
    </a:ext>
  </a:extLst>
</a:theme>
</file>

<file path=ppt/theme/theme6.xml><?xml version="1.0" encoding="utf-8"?>
<a:theme xmlns:a="http://schemas.openxmlformats.org/drawingml/2006/main" name="3_Text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StuGBN_Aeg_PPT_Temp04" id="{03FB3863-A6BC-374A-B39F-848E81F810D9}" vid="{F6FC97BF-39BF-5340-81D1-3669441EEC1D}"/>
    </a:ext>
  </a:extLst>
</a:theme>
</file>

<file path=ppt/theme/theme7.xml><?xml version="1.0" encoding="utf-8"?>
<a:theme xmlns:a="http://schemas.openxmlformats.org/drawingml/2006/main" name="1_Varia slides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Aegon Group Template 2016" id="{38AED903-669A-49C7-8B10-863019E40CC8}" vid="{0714EC46-90C3-47EF-BE07-EF710E81C253}"/>
    </a:ext>
  </a:extLst>
</a:theme>
</file>

<file path=ppt/theme/theme8.xml><?xml version="1.0" encoding="utf-8"?>
<a:theme xmlns:a="http://schemas.openxmlformats.org/drawingml/2006/main" name="2_Text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Aegon Group_template03" id="{1609A097-B786-4B7B-988D-088609B62477}" vid="{163717FE-06F0-482A-9741-60041DA0634A}"/>
    </a:ext>
  </a:extLst>
</a:theme>
</file>

<file path=ppt/theme/theme9.xml><?xml version="1.0" encoding="utf-8"?>
<a:theme xmlns:a="http://schemas.openxmlformats.org/drawingml/2006/main" name="4_Text">
  <a:themeElements>
    <a:clrScheme name="Aegon colors 2016_new">
      <a:dk1>
        <a:srgbClr val="000000"/>
      </a:dk1>
      <a:lt1>
        <a:srgbClr val="FFFFFF"/>
      </a:lt1>
      <a:dk2>
        <a:srgbClr val="003C64"/>
      </a:dk2>
      <a:lt2>
        <a:srgbClr val="0AB9EB"/>
      </a:lt2>
      <a:accent1>
        <a:srgbClr val="0077C8"/>
      </a:accent1>
      <a:accent2>
        <a:srgbClr val="764AA0"/>
      </a:accent2>
      <a:accent3>
        <a:srgbClr val="CA4642"/>
      </a:accent3>
      <a:accent4>
        <a:srgbClr val="F27D00"/>
      </a:accent4>
      <a:accent5>
        <a:srgbClr val="FDC828"/>
      </a:accent5>
      <a:accent6>
        <a:srgbClr val="00A68C"/>
      </a:accent6>
      <a:hlink>
        <a:srgbClr val="1D1D1D"/>
      </a:hlink>
      <a:folHlink>
        <a:srgbClr val="E8E8E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Aegon Group Template 2016" id="{38AED903-669A-49C7-8B10-863019E40CC8}" vid="{C990B685-2A8C-4A15-B8B6-E39D4ED9C7D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C1D735A9811741A65DFB1A2A04C91A" ma:contentTypeVersion="2" ma:contentTypeDescription="Create a new document." ma:contentTypeScope="" ma:versionID="ddc3226d457196cb162bdbbc4708080a">
  <xsd:schema xmlns:xsd="http://www.w3.org/2001/XMLSchema" xmlns:xs="http://www.w3.org/2001/XMLSchema" xmlns:p="http://schemas.microsoft.com/office/2006/metadata/properties" xmlns:ns1="http://schemas.microsoft.com/sharepoint/v3" xmlns:ns2="1a70ed8f-5bf8-469d-b428-64f1509bc784" targetNamespace="http://schemas.microsoft.com/office/2006/metadata/properties" ma:root="true" ma:fieldsID="a63f5c88f2fca5370ab910db891a72f0" ns1:_="" ns2:_="">
    <xsd:import namespace="http://schemas.microsoft.com/sharepoint/v3"/>
    <xsd:import namespace="1a70ed8f-5bf8-469d-b428-64f1509bc784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L2S_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70ed8f-5bf8-469d-b428-64f1509bc784" elementFormDefault="qualified">
    <xsd:import namespace="http://schemas.microsoft.com/office/2006/documentManagement/types"/>
    <xsd:import namespace="http://schemas.microsoft.com/office/infopath/2007/PartnerControls"/>
    <xsd:element name="L2S_Description" ma:index="10" nillable="true" ma:displayName="Description" ma:internalName="L2S_Description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L2S_Description xmlns="1a70ed8f-5bf8-469d-b428-64f1509bc784">Aegon's corporate presentation &amp; template with guidelines for use.</L2S_Description>
  </documentManagement>
</p:properties>
</file>

<file path=customXml/itemProps1.xml><?xml version="1.0" encoding="utf-8"?>
<ds:datastoreItem xmlns:ds="http://schemas.openxmlformats.org/officeDocument/2006/customXml" ds:itemID="{D2B2DCA1-758D-4563-AA7B-602FE8A568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C2D8981-7BAA-4AC2-B6E6-2F33B48A5BC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70ed8f-5bf8-469d-b428-64f1509bc7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49002EE-0C3A-4BAE-89FF-1019F497100F}">
  <ds:schemaRefs>
    <ds:schemaRef ds:uri="http://purl.org/dc/terms/"/>
    <ds:schemaRef ds:uri="http://schemas.microsoft.com/office/2006/documentManagement/types"/>
    <ds:schemaRef ds:uri="1a70ed8f-5bf8-469d-b428-64f1509bc784"/>
    <ds:schemaRef ds:uri="http://purl.org/dc/dcmitype/"/>
    <ds:schemaRef ds:uri="http://schemas.microsoft.com/office/infopath/2007/PartnerControls"/>
    <ds:schemaRef ds:uri="http://schemas.microsoft.com/sharepoint/v3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egon Group Template 2016</Template>
  <TotalTime>2592</TotalTime>
  <Words>547</Words>
  <Application>Microsoft Office PowerPoint</Application>
  <PresentationFormat>Egyéni</PresentationFormat>
  <Paragraphs>84</Paragraphs>
  <Slides>10</Slides>
  <Notes>3</Notes>
  <HiddenSlides>0</HiddenSlides>
  <MMClips>0</MMClips>
  <ScaleCrop>false</ScaleCrop>
  <HeadingPairs>
    <vt:vector size="6" baseType="variant">
      <vt:variant>
        <vt:lpstr>Téma</vt:lpstr>
      </vt:variant>
      <vt:variant>
        <vt:i4>15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0</vt:i4>
      </vt:variant>
    </vt:vector>
  </HeadingPairs>
  <TitlesOfParts>
    <vt:vector size="26" baseType="lpstr">
      <vt:lpstr>Agenda</vt:lpstr>
      <vt:lpstr>Text</vt:lpstr>
      <vt:lpstr>Text dual branded slides</vt:lpstr>
      <vt:lpstr>Varia slides</vt:lpstr>
      <vt:lpstr>1_Text</vt:lpstr>
      <vt:lpstr>3_Text</vt:lpstr>
      <vt:lpstr>1_Varia slides</vt:lpstr>
      <vt:lpstr>2_Text</vt:lpstr>
      <vt:lpstr>4_Text</vt:lpstr>
      <vt:lpstr>2_Varia slides</vt:lpstr>
      <vt:lpstr>5_Text</vt:lpstr>
      <vt:lpstr>3_Varia slides</vt:lpstr>
      <vt:lpstr>4_Varia slides</vt:lpstr>
      <vt:lpstr>3_Aegon Group Template 2016</vt:lpstr>
      <vt:lpstr>5_Varia slides</vt:lpstr>
      <vt:lpstr>think-cell Slide</vt:lpstr>
      <vt:lpstr>Example divider page</vt:lpstr>
      <vt:lpstr>LTP fejlesztés</vt:lpstr>
      <vt:lpstr>Elektronikus szerződéskötés</vt:lpstr>
      <vt:lpstr>Elektronikus szerződéskötés</vt:lpstr>
      <vt:lpstr>Elektronikus szerződéskötés</vt:lpstr>
      <vt:lpstr>Elektronikus szerződéskötés</vt:lpstr>
      <vt:lpstr>Elektronikus szerződéskötés</vt:lpstr>
      <vt:lpstr>Elektronikus szerződéskötés</vt:lpstr>
      <vt:lpstr>Elektronikus szerződéskötés</vt:lpstr>
      <vt:lpstr>Elektronikus szerződéskötés</vt:lpstr>
    </vt:vector>
  </TitlesOfParts>
  <Company>Member Company of the AEGON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 introduction to Aegon - June 2016</dc:title>
  <dc:creator>Dekker, Marjolein</dc:creator>
  <cp:lastModifiedBy>Mohai, Krisztina</cp:lastModifiedBy>
  <cp:revision>286</cp:revision>
  <cp:lastPrinted>2016-06-03T12:09:54Z</cp:lastPrinted>
  <dcterms:created xsi:type="dcterms:W3CDTF">2016-05-27T13:08:49Z</dcterms:created>
  <dcterms:modified xsi:type="dcterms:W3CDTF">2016-09-16T10:1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C1D735A9811741A65DFB1A2A04C91A</vt:lpwstr>
  </property>
</Properties>
</file>